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notesMasterIdLst>
    <p:notesMasterId r:id="rId7"/>
  </p:notesMasterIdLst>
  <p:handoutMasterIdLst>
    <p:handoutMasterId r:id="rId8"/>
  </p:handoutMasterIdLst>
  <p:sldIdLst>
    <p:sldId id="362" r:id="rId2"/>
    <p:sldId id="404" r:id="rId3"/>
    <p:sldId id="405" r:id="rId4"/>
    <p:sldId id="406" r:id="rId5"/>
    <p:sldId id="407" r:id="rId6"/>
  </p:sldIdLst>
  <p:sldSz cx="9144000" cy="6858000" type="screen4x3"/>
  <p:notesSz cx="6884988" cy="10018713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72">
          <p15:clr>
            <a:srgbClr val="A4A3A4"/>
          </p15:clr>
        </p15:guide>
        <p15:guide id="2" orient="horz" pos="731">
          <p15:clr>
            <a:srgbClr val="A4A3A4"/>
          </p15:clr>
        </p15:guide>
        <p15:guide id="3" orient="horz" pos="221">
          <p15:clr>
            <a:srgbClr val="A4A3A4"/>
          </p15:clr>
        </p15:guide>
        <p15:guide id="4" orient="horz" pos="4239">
          <p15:clr>
            <a:srgbClr val="A4A3A4"/>
          </p15:clr>
        </p15:guide>
        <p15:guide id="5" orient="horz" pos="1011">
          <p15:clr>
            <a:srgbClr val="A4A3A4"/>
          </p15:clr>
        </p15:guide>
        <p15:guide id="6" orient="horz" pos="1036">
          <p15:clr>
            <a:srgbClr val="A4A3A4"/>
          </p15:clr>
        </p15:guide>
        <p15:guide id="7" orient="horz" pos="1170">
          <p15:clr>
            <a:srgbClr val="A4A3A4"/>
          </p15:clr>
        </p15:guide>
        <p15:guide id="8" pos="163">
          <p15:clr>
            <a:srgbClr val="A4A3A4"/>
          </p15:clr>
        </p15:guide>
        <p15:guide id="9" pos="5597">
          <p15:clr>
            <a:srgbClr val="A4A3A4"/>
          </p15:clr>
        </p15:guide>
        <p15:guide id="10" pos="2881">
          <p15:clr>
            <a:srgbClr val="A4A3A4"/>
          </p15:clr>
        </p15:guide>
        <p15:guide id="11" orient="horz" pos="3914">
          <p15:clr>
            <a:srgbClr val="A4A3A4"/>
          </p15:clr>
        </p15:guide>
        <p15:guide id="12" orient="horz" pos="712">
          <p15:clr>
            <a:srgbClr val="A4A3A4"/>
          </p15:clr>
        </p15:guide>
        <p15:guide id="13" orient="horz" pos="1067">
          <p15:clr>
            <a:srgbClr val="A4A3A4"/>
          </p15:clr>
        </p15:guide>
        <p15:guide id="14" orient="horz" pos="134">
          <p15:clr>
            <a:srgbClr val="A4A3A4"/>
          </p15:clr>
        </p15:guide>
        <p15:guide id="15" orient="horz" pos="3547">
          <p15:clr>
            <a:srgbClr val="A4A3A4"/>
          </p15:clr>
        </p15:guide>
        <p15:guide id="16" orient="horz" pos="2239">
          <p15:clr>
            <a:srgbClr val="A4A3A4"/>
          </p15:clr>
        </p15:guide>
        <p15:guide id="17" orient="horz" pos="103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56">
          <p15:clr>
            <a:srgbClr val="A4A3A4"/>
          </p15:clr>
        </p15:guide>
        <p15:guide id="2" pos="216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F2D7F"/>
    <a:srgbClr val="FF7900"/>
    <a:srgbClr val="D8E197"/>
    <a:srgbClr val="F6B652"/>
    <a:srgbClr val="FFFF00"/>
    <a:srgbClr val="BECD4F"/>
    <a:srgbClr val="98A62F"/>
    <a:srgbClr val="EE8C3B"/>
    <a:srgbClr val="4A7440"/>
    <a:srgbClr val="7C8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397" autoAdjust="0"/>
    <p:restoredTop sz="51706" autoAdjust="0"/>
  </p:normalViewPr>
  <p:slideViewPr>
    <p:cSldViewPr snapToGrid="0" snapToObjects="1">
      <p:cViewPr varScale="1">
        <p:scale>
          <a:sx n="87" d="100"/>
          <a:sy n="87" d="100"/>
        </p:scale>
        <p:origin x="870" y="90"/>
      </p:cViewPr>
      <p:guideLst>
        <p:guide orient="horz" pos="3872"/>
        <p:guide orient="horz" pos="731"/>
        <p:guide orient="horz" pos="221"/>
        <p:guide orient="horz" pos="4239"/>
        <p:guide orient="horz" pos="1011"/>
        <p:guide orient="horz" pos="1036"/>
        <p:guide orient="horz" pos="1170"/>
        <p:guide pos="163"/>
        <p:guide pos="5597"/>
        <p:guide pos="2881"/>
        <p:guide orient="horz" pos="3914"/>
        <p:guide orient="horz" pos="712"/>
        <p:guide orient="horz" pos="1067"/>
        <p:guide orient="horz" pos="134"/>
        <p:guide orient="horz" pos="3547"/>
        <p:guide orient="horz" pos="2239"/>
        <p:guide orient="horz" pos="1034"/>
      </p:guideLst>
    </p:cSldViewPr>
  </p:slideViewPr>
  <p:outlineViewPr>
    <p:cViewPr>
      <p:scale>
        <a:sx n="33" d="100"/>
        <a:sy n="33" d="100"/>
      </p:scale>
      <p:origin x="0" y="-15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52" d="100"/>
          <a:sy n="52" d="100"/>
        </p:scale>
        <p:origin x="2940" y="78"/>
      </p:cViewPr>
      <p:guideLst>
        <p:guide orient="horz" pos="3156"/>
        <p:guide pos="216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diagrams/_rels/data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6.jpg"/><Relationship Id="rId1" Type="http://schemas.openxmlformats.org/officeDocument/2006/relationships/image" Target="../media/image5.jpg"/><Relationship Id="rId6" Type="http://schemas.openxmlformats.org/officeDocument/2006/relationships/image" Target="../media/image10.jpg"/><Relationship Id="rId5" Type="http://schemas.openxmlformats.org/officeDocument/2006/relationships/image" Target="../media/image9.jpg"/><Relationship Id="rId4" Type="http://schemas.openxmlformats.org/officeDocument/2006/relationships/image" Target="../media/image8.png"/></Relationships>
</file>

<file path=ppt/diagrams/_rels/drawing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6.jpg"/><Relationship Id="rId1" Type="http://schemas.openxmlformats.org/officeDocument/2006/relationships/image" Target="../media/image5.jpg"/><Relationship Id="rId6" Type="http://schemas.openxmlformats.org/officeDocument/2006/relationships/image" Target="../media/image10.jpg"/><Relationship Id="rId5" Type="http://schemas.openxmlformats.org/officeDocument/2006/relationships/image" Target="../media/image9.jpg"/><Relationship Id="rId4" Type="http://schemas.openxmlformats.org/officeDocument/2006/relationships/image" Target="../media/image8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B1E61D1-62F1-4E11-B0BB-DEF045323105}" type="doc">
      <dgm:prSet loTypeId="urn:microsoft.com/office/officeart/2005/8/layout/hierarchy2" loCatId="hierarchy" qsTypeId="urn:microsoft.com/office/officeart/2005/8/quickstyle/simple5" qsCatId="simple" csTypeId="urn:microsoft.com/office/officeart/2005/8/colors/colorful4" csCatId="colorful" phldr="1"/>
      <dgm:spPr/>
      <dgm:t>
        <a:bodyPr/>
        <a:lstStyle/>
        <a:p>
          <a:endParaRPr lang="es-AR"/>
        </a:p>
      </dgm:t>
    </dgm:pt>
    <dgm:pt modelId="{1671B4C5-0E44-4C6A-BA0B-5D1816DFE43A}">
      <dgm:prSet phldrT="[Text]"/>
      <dgm:spPr/>
      <dgm:t>
        <a:bodyPr/>
        <a:lstStyle/>
        <a:p>
          <a:r>
            <a:rPr lang="es-AR"/>
            <a:t>LDAP Domain</a:t>
          </a:r>
        </a:p>
      </dgm:t>
    </dgm:pt>
    <dgm:pt modelId="{FCD72CC2-EC3B-43A9-82E9-B4E356F1324C}" type="parTrans" cxnId="{0759D09F-0350-49DF-A794-2B5B1FD2F307}">
      <dgm:prSet/>
      <dgm:spPr/>
      <dgm:t>
        <a:bodyPr/>
        <a:lstStyle/>
        <a:p>
          <a:endParaRPr lang="es-AR"/>
        </a:p>
      </dgm:t>
    </dgm:pt>
    <dgm:pt modelId="{4369036C-FA82-4FAC-8DA1-ACFDDA69A78E}" type="sibTrans" cxnId="{0759D09F-0350-49DF-A794-2B5B1FD2F307}">
      <dgm:prSet/>
      <dgm:spPr/>
      <dgm:t>
        <a:bodyPr/>
        <a:lstStyle/>
        <a:p>
          <a:endParaRPr lang="es-AR"/>
        </a:p>
      </dgm:t>
    </dgm:pt>
    <dgm:pt modelId="{4E80D6CD-3600-4FCA-A5FD-95103287A0AB}">
      <dgm:prSet phldrT="[Text]"/>
      <dgm:spPr/>
      <dgm:t>
        <a:bodyPr/>
        <a:lstStyle/>
        <a:p>
          <a:r>
            <a:rPr lang="es-AR"/>
            <a:t>Title</a:t>
          </a:r>
        </a:p>
      </dgm:t>
    </dgm:pt>
    <dgm:pt modelId="{BBC465DE-EA5E-4695-81DF-E1E4F621C693}" type="parTrans" cxnId="{F72CFDA9-B012-42B5-9AEE-2E2AF8025115}">
      <dgm:prSet/>
      <dgm:spPr/>
      <dgm:t>
        <a:bodyPr/>
        <a:lstStyle/>
        <a:p>
          <a:endParaRPr lang="es-AR"/>
        </a:p>
      </dgm:t>
    </dgm:pt>
    <dgm:pt modelId="{6CC2D89B-53A5-40AE-A6B9-B50A6B8AF18B}" type="sibTrans" cxnId="{F72CFDA9-B012-42B5-9AEE-2E2AF8025115}">
      <dgm:prSet/>
      <dgm:spPr/>
      <dgm:t>
        <a:bodyPr/>
        <a:lstStyle/>
        <a:p>
          <a:endParaRPr lang="es-AR"/>
        </a:p>
      </dgm:t>
    </dgm:pt>
    <dgm:pt modelId="{282D3B29-2040-473B-A1E2-1E8168E083D4}">
      <dgm:prSet phldrT="[Text]"/>
      <dgm:spPr/>
      <dgm:t>
        <a:bodyPr/>
        <a:lstStyle/>
        <a:p>
          <a:r>
            <a:rPr lang="es-AR"/>
            <a:t>CEO</a:t>
          </a:r>
        </a:p>
      </dgm:t>
    </dgm:pt>
    <dgm:pt modelId="{E22CADE0-CE5D-4B38-AEDB-BBA2C2F4022C}" type="parTrans" cxnId="{D3A3B21B-9CE2-47E1-BE13-44C8C4A7C17A}">
      <dgm:prSet/>
      <dgm:spPr/>
      <dgm:t>
        <a:bodyPr/>
        <a:lstStyle/>
        <a:p>
          <a:endParaRPr lang="es-AR"/>
        </a:p>
      </dgm:t>
    </dgm:pt>
    <dgm:pt modelId="{159DAFD2-0F1E-4239-918F-689216B449FE}" type="sibTrans" cxnId="{D3A3B21B-9CE2-47E1-BE13-44C8C4A7C17A}">
      <dgm:prSet/>
      <dgm:spPr/>
      <dgm:t>
        <a:bodyPr/>
        <a:lstStyle/>
        <a:p>
          <a:endParaRPr lang="es-AR"/>
        </a:p>
      </dgm:t>
    </dgm:pt>
    <dgm:pt modelId="{E2D99889-DBAC-4851-94C2-CC4416E02A05}">
      <dgm:prSet phldrT="[Text]"/>
      <dgm:spPr/>
      <dgm:t>
        <a:bodyPr/>
        <a:lstStyle/>
        <a:p>
          <a:r>
            <a:rPr lang="es-AR"/>
            <a:t>Lider</a:t>
          </a:r>
        </a:p>
      </dgm:t>
    </dgm:pt>
    <dgm:pt modelId="{2D4905A2-C2C7-449B-ACF2-99AE976E3719}" type="parTrans" cxnId="{5B84A566-4939-4019-B3CA-798222685648}">
      <dgm:prSet/>
      <dgm:spPr/>
      <dgm:t>
        <a:bodyPr/>
        <a:lstStyle/>
        <a:p>
          <a:endParaRPr lang="es-AR"/>
        </a:p>
      </dgm:t>
    </dgm:pt>
    <dgm:pt modelId="{82870E0D-D105-45E5-8653-071458E4007E}" type="sibTrans" cxnId="{5B84A566-4939-4019-B3CA-798222685648}">
      <dgm:prSet/>
      <dgm:spPr/>
      <dgm:t>
        <a:bodyPr/>
        <a:lstStyle/>
        <a:p>
          <a:endParaRPr lang="es-AR"/>
        </a:p>
      </dgm:t>
    </dgm:pt>
    <dgm:pt modelId="{F2B7B05C-4612-4000-9679-8BF8DE9ED415}">
      <dgm:prSet phldrT="[Text]"/>
      <dgm:spPr/>
      <dgm:t>
        <a:bodyPr/>
        <a:lstStyle/>
        <a:p>
          <a:r>
            <a:rPr lang="es-AR"/>
            <a:t>Market</a:t>
          </a:r>
        </a:p>
      </dgm:t>
    </dgm:pt>
    <dgm:pt modelId="{78CC7C70-EFA0-453E-8BFF-A19F0DC168D0}" type="parTrans" cxnId="{E3AF2300-9EC4-44B4-AEBE-5C2C7C65E1E6}">
      <dgm:prSet/>
      <dgm:spPr/>
      <dgm:t>
        <a:bodyPr/>
        <a:lstStyle/>
        <a:p>
          <a:endParaRPr lang="es-AR"/>
        </a:p>
      </dgm:t>
    </dgm:pt>
    <dgm:pt modelId="{306BD330-9743-4A0F-98C8-74B67915F20D}" type="sibTrans" cxnId="{E3AF2300-9EC4-44B4-AEBE-5C2C7C65E1E6}">
      <dgm:prSet/>
      <dgm:spPr/>
      <dgm:t>
        <a:bodyPr/>
        <a:lstStyle/>
        <a:p>
          <a:endParaRPr lang="es-AR"/>
        </a:p>
      </dgm:t>
    </dgm:pt>
    <dgm:pt modelId="{6A7F68EB-1728-4CEA-B886-DD95DA414743}">
      <dgm:prSet phldrT="[Text]"/>
      <dgm:spPr/>
      <dgm:t>
        <a:bodyPr/>
        <a:lstStyle/>
        <a:p>
          <a:r>
            <a:rPr lang="es-AR"/>
            <a:t>AR</a:t>
          </a:r>
        </a:p>
      </dgm:t>
    </dgm:pt>
    <dgm:pt modelId="{1DD1375D-6A75-4656-B822-5CC4857A77F7}" type="parTrans" cxnId="{B06BB08D-7A56-4D4C-877C-D58CA675E75E}">
      <dgm:prSet/>
      <dgm:spPr/>
      <dgm:t>
        <a:bodyPr/>
        <a:lstStyle/>
        <a:p>
          <a:endParaRPr lang="es-AR"/>
        </a:p>
      </dgm:t>
    </dgm:pt>
    <dgm:pt modelId="{3D4F0053-5816-4155-BBC2-243C6EB05B7B}" type="sibTrans" cxnId="{B06BB08D-7A56-4D4C-877C-D58CA675E75E}">
      <dgm:prSet/>
      <dgm:spPr/>
      <dgm:t>
        <a:bodyPr/>
        <a:lstStyle/>
        <a:p>
          <a:endParaRPr lang="es-AR"/>
        </a:p>
      </dgm:t>
    </dgm:pt>
    <dgm:pt modelId="{DF2BCD4E-4465-4622-8187-380B5E076B0E}">
      <dgm:prSet phldrT="[Text]"/>
      <dgm:spPr/>
      <dgm:t>
        <a:bodyPr/>
        <a:lstStyle/>
        <a:p>
          <a:r>
            <a:rPr lang="es-AR"/>
            <a:t>Analist</a:t>
          </a:r>
        </a:p>
      </dgm:t>
    </dgm:pt>
    <dgm:pt modelId="{22630DFB-2053-4F37-B377-CDC6864EE9FE}" type="parTrans" cxnId="{F1062768-807F-4567-B78F-F107AA398520}">
      <dgm:prSet/>
      <dgm:spPr/>
      <dgm:t>
        <a:bodyPr/>
        <a:lstStyle/>
        <a:p>
          <a:endParaRPr lang="es-AR"/>
        </a:p>
      </dgm:t>
    </dgm:pt>
    <dgm:pt modelId="{F0826436-48CA-4D8D-B816-966EC5BEE31C}" type="sibTrans" cxnId="{F1062768-807F-4567-B78F-F107AA398520}">
      <dgm:prSet/>
      <dgm:spPr/>
      <dgm:t>
        <a:bodyPr/>
        <a:lstStyle/>
        <a:p>
          <a:endParaRPr lang="es-AR"/>
        </a:p>
      </dgm:t>
    </dgm:pt>
    <dgm:pt modelId="{E8EA91C9-2DC2-4165-8193-90E2A15E7C26}">
      <dgm:prSet phldrT="[Text]"/>
      <dgm:spPr/>
      <dgm:t>
        <a:bodyPr/>
        <a:lstStyle/>
        <a:p>
          <a:r>
            <a:rPr lang="es-AR"/>
            <a:t>BR</a:t>
          </a:r>
        </a:p>
      </dgm:t>
    </dgm:pt>
    <dgm:pt modelId="{BEFF492E-EF93-4CE6-AB0F-5569A0EBDFE5}" type="parTrans" cxnId="{135F2D45-2691-4629-A672-A4CAE5BBC6FF}">
      <dgm:prSet/>
      <dgm:spPr/>
      <dgm:t>
        <a:bodyPr/>
        <a:lstStyle/>
        <a:p>
          <a:endParaRPr lang="es-AR"/>
        </a:p>
      </dgm:t>
    </dgm:pt>
    <dgm:pt modelId="{05C835B6-C8AA-4AD0-A47A-B35C8D6DADF0}" type="sibTrans" cxnId="{135F2D45-2691-4629-A672-A4CAE5BBC6FF}">
      <dgm:prSet/>
      <dgm:spPr/>
      <dgm:t>
        <a:bodyPr/>
        <a:lstStyle/>
        <a:p>
          <a:endParaRPr lang="es-AR"/>
        </a:p>
      </dgm:t>
    </dgm:pt>
    <dgm:pt modelId="{08B5D957-1185-4603-A023-BF343DE5D5F9}">
      <dgm:prSet phldrT="[Text]"/>
      <dgm:spPr/>
      <dgm:t>
        <a:bodyPr/>
        <a:lstStyle/>
        <a:p>
          <a:r>
            <a:rPr lang="es-AR"/>
            <a:t>IN</a:t>
          </a:r>
        </a:p>
      </dgm:t>
    </dgm:pt>
    <dgm:pt modelId="{800004C2-FD74-4CEB-8254-98A9C8C483F5}" type="parTrans" cxnId="{D9E1E80F-B996-4E1D-9F80-85034F35FE36}">
      <dgm:prSet/>
      <dgm:spPr/>
      <dgm:t>
        <a:bodyPr/>
        <a:lstStyle/>
        <a:p>
          <a:endParaRPr lang="es-AR"/>
        </a:p>
      </dgm:t>
    </dgm:pt>
    <dgm:pt modelId="{F0BD710F-1EE6-4151-B471-31A793A589DB}" type="sibTrans" cxnId="{D9E1E80F-B996-4E1D-9F80-85034F35FE36}">
      <dgm:prSet/>
      <dgm:spPr/>
      <dgm:t>
        <a:bodyPr/>
        <a:lstStyle/>
        <a:p>
          <a:endParaRPr lang="es-AR"/>
        </a:p>
      </dgm:t>
    </dgm:pt>
    <dgm:pt modelId="{8F421544-9C30-4B45-B115-7B3554F7D955}">
      <dgm:prSet phldrT="[Text]"/>
      <dgm:spPr/>
      <dgm:t>
        <a:bodyPr/>
        <a:lstStyle/>
        <a:p>
          <a:r>
            <a:rPr lang="es-AR"/>
            <a:t>USR</a:t>
          </a:r>
        </a:p>
      </dgm:t>
    </dgm:pt>
    <dgm:pt modelId="{DF04D7C5-92CC-4F12-B20C-3D4CE31CB2BF}" type="parTrans" cxnId="{9F3011A8-AA3C-4E03-B064-8682802E84DD}">
      <dgm:prSet/>
      <dgm:spPr/>
      <dgm:t>
        <a:bodyPr/>
        <a:lstStyle/>
        <a:p>
          <a:endParaRPr lang="es-AR"/>
        </a:p>
      </dgm:t>
    </dgm:pt>
    <dgm:pt modelId="{A62E0944-42E9-419B-A3E5-37BBBF20F543}" type="sibTrans" cxnId="{9F3011A8-AA3C-4E03-B064-8682802E84DD}">
      <dgm:prSet/>
      <dgm:spPr/>
      <dgm:t>
        <a:bodyPr/>
        <a:lstStyle/>
        <a:p>
          <a:endParaRPr lang="es-AR"/>
        </a:p>
      </dgm:t>
    </dgm:pt>
    <dgm:pt modelId="{2E6E7FA0-A2F6-4B36-BBEA-FA79DA236DDD}">
      <dgm:prSet phldrT="[Text]"/>
      <dgm:spPr/>
      <dgm:t>
        <a:bodyPr/>
        <a:lstStyle/>
        <a:p>
          <a:r>
            <a:rPr lang="es-AR"/>
            <a:t>Usr1</a:t>
          </a:r>
        </a:p>
        <a:p>
          <a:r>
            <a:rPr lang="es-AR"/>
            <a:t>Analist-IN </a:t>
          </a:r>
        </a:p>
      </dgm:t>
    </dgm:pt>
    <dgm:pt modelId="{414E6A6B-F230-440A-A479-57729E23A15B}" type="parTrans" cxnId="{69B2455B-626F-4582-817B-AA5806C9E7D9}">
      <dgm:prSet/>
      <dgm:spPr/>
      <dgm:t>
        <a:bodyPr/>
        <a:lstStyle/>
        <a:p>
          <a:endParaRPr lang="es-AR"/>
        </a:p>
      </dgm:t>
    </dgm:pt>
    <dgm:pt modelId="{CF1682D9-7832-44C8-9E9D-35694A051DC4}" type="sibTrans" cxnId="{69B2455B-626F-4582-817B-AA5806C9E7D9}">
      <dgm:prSet/>
      <dgm:spPr/>
      <dgm:t>
        <a:bodyPr/>
        <a:lstStyle/>
        <a:p>
          <a:endParaRPr lang="es-AR"/>
        </a:p>
      </dgm:t>
    </dgm:pt>
    <dgm:pt modelId="{2571FD99-EB15-45CC-B007-30468036AD0C}">
      <dgm:prSet phldrT="[Text]"/>
      <dgm:spPr/>
      <dgm:t>
        <a:bodyPr/>
        <a:lstStyle/>
        <a:p>
          <a:r>
            <a:rPr lang="es-AR" dirty="0"/>
            <a:t>Usr2</a:t>
          </a:r>
        </a:p>
        <a:p>
          <a:r>
            <a:rPr lang="es-AR" dirty="0" err="1"/>
            <a:t>Lider</a:t>
          </a:r>
          <a:r>
            <a:rPr lang="es-AR" dirty="0"/>
            <a:t>-BR</a:t>
          </a:r>
        </a:p>
      </dgm:t>
    </dgm:pt>
    <dgm:pt modelId="{D74FD61E-5A53-4CC3-A3F7-1825ECB33C32}" type="parTrans" cxnId="{784EBC24-9C56-455D-803B-CB2C2AEBE720}">
      <dgm:prSet/>
      <dgm:spPr/>
      <dgm:t>
        <a:bodyPr/>
        <a:lstStyle/>
        <a:p>
          <a:endParaRPr lang="es-AR"/>
        </a:p>
      </dgm:t>
    </dgm:pt>
    <dgm:pt modelId="{B9D92493-EFE7-4B8C-8030-CF6339BDAF0F}" type="sibTrans" cxnId="{784EBC24-9C56-455D-803B-CB2C2AEBE720}">
      <dgm:prSet/>
      <dgm:spPr/>
      <dgm:t>
        <a:bodyPr/>
        <a:lstStyle/>
        <a:p>
          <a:endParaRPr lang="es-AR"/>
        </a:p>
      </dgm:t>
    </dgm:pt>
    <dgm:pt modelId="{3C027B34-8B16-4A62-B2D2-2667A97CE652}">
      <dgm:prSet phldrT="[Text]"/>
      <dgm:spPr/>
      <dgm:t>
        <a:bodyPr/>
        <a:lstStyle/>
        <a:p>
          <a:r>
            <a:rPr lang="es-AR"/>
            <a:t>Usr3</a:t>
          </a:r>
        </a:p>
        <a:p>
          <a:r>
            <a:rPr lang="es-AR"/>
            <a:t>CEO-Core</a:t>
          </a:r>
        </a:p>
      </dgm:t>
    </dgm:pt>
    <dgm:pt modelId="{F2AF4DCD-C084-47FE-893B-7C8D8F2AE346}" type="parTrans" cxnId="{C6C7401F-2D51-4789-9B99-A62313DE047E}">
      <dgm:prSet/>
      <dgm:spPr/>
      <dgm:t>
        <a:bodyPr/>
        <a:lstStyle/>
        <a:p>
          <a:endParaRPr lang="es-AR"/>
        </a:p>
      </dgm:t>
    </dgm:pt>
    <dgm:pt modelId="{D03E7EE3-A4E1-4C44-8542-E9D8AA5D5F8B}" type="sibTrans" cxnId="{C6C7401F-2D51-4789-9B99-A62313DE047E}">
      <dgm:prSet/>
      <dgm:spPr/>
      <dgm:t>
        <a:bodyPr/>
        <a:lstStyle/>
        <a:p>
          <a:endParaRPr lang="es-AR"/>
        </a:p>
      </dgm:t>
    </dgm:pt>
    <dgm:pt modelId="{C7AE52B1-5F28-4AFA-9EAB-EE1D620A4F20}">
      <dgm:prSet phldrT="[Text]"/>
      <dgm:spPr/>
      <dgm:t>
        <a:bodyPr/>
        <a:lstStyle/>
        <a:p>
          <a:r>
            <a:rPr lang="es-AR"/>
            <a:t>Core</a:t>
          </a:r>
        </a:p>
      </dgm:t>
    </dgm:pt>
    <dgm:pt modelId="{61CC59EA-998F-4E59-9E2C-B645E0C001C6}" type="parTrans" cxnId="{888E01D1-6E48-4DB2-87B6-7B2E02A2CBDB}">
      <dgm:prSet/>
      <dgm:spPr/>
      <dgm:t>
        <a:bodyPr/>
        <a:lstStyle/>
        <a:p>
          <a:endParaRPr lang="es-AR"/>
        </a:p>
      </dgm:t>
    </dgm:pt>
    <dgm:pt modelId="{6DF7DEDC-A6A1-4A35-AF4A-5B2C0B65595E}" type="sibTrans" cxnId="{888E01D1-6E48-4DB2-87B6-7B2E02A2CBDB}">
      <dgm:prSet/>
      <dgm:spPr/>
      <dgm:t>
        <a:bodyPr/>
        <a:lstStyle/>
        <a:p>
          <a:endParaRPr lang="es-AR"/>
        </a:p>
      </dgm:t>
    </dgm:pt>
    <dgm:pt modelId="{169029AB-4BED-4D6E-BF0F-D76AA25FBC10}" type="pres">
      <dgm:prSet presAssocID="{EB1E61D1-62F1-4E11-B0BB-DEF045323105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es-AR"/>
        </a:p>
      </dgm:t>
    </dgm:pt>
    <dgm:pt modelId="{13817CD0-5956-43A3-8D29-E1C0E66C99E0}" type="pres">
      <dgm:prSet presAssocID="{1671B4C5-0E44-4C6A-BA0B-5D1816DFE43A}" presName="root1" presStyleCnt="0"/>
      <dgm:spPr/>
      <dgm:t>
        <a:bodyPr/>
        <a:lstStyle/>
        <a:p>
          <a:endParaRPr lang="es-AR"/>
        </a:p>
      </dgm:t>
    </dgm:pt>
    <dgm:pt modelId="{8B15C89B-F956-401A-9384-4002ABF58DC6}" type="pres">
      <dgm:prSet presAssocID="{1671B4C5-0E44-4C6A-BA0B-5D1816DFE43A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es-AR"/>
        </a:p>
      </dgm:t>
    </dgm:pt>
    <dgm:pt modelId="{D87CF0F4-291B-4BEC-A194-810053B5DD9D}" type="pres">
      <dgm:prSet presAssocID="{1671B4C5-0E44-4C6A-BA0B-5D1816DFE43A}" presName="level2hierChild" presStyleCnt="0"/>
      <dgm:spPr/>
      <dgm:t>
        <a:bodyPr/>
        <a:lstStyle/>
        <a:p>
          <a:endParaRPr lang="es-AR"/>
        </a:p>
      </dgm:t>
    </dgm:pt>
    <dgm:pt modelId="{BEE0C368-91B8-48D3-831F-3DDB6B38913D}" type="pres">
      <dgm:prSet presAssocID="{BBC465DE-EA5E-4695-81DF-E1E4F621C693}" presName="conn2-1" presStyleLbl="parChTrans1D2" presStyleIdx="0" presStyleCnt="3"/>
      <dgm:spPr/>
      <dgm:t>
        <a:bodyPr/>
        <a:lstStyle/>
        <a:p>
          <a:endParaRPr lang="es-AR"/>
        </a:p>
      </dgm:t>
    </dgm:pt>
    <dgm:pt modelId="{06142FF9-68B5-4FA7-86FD-777CA84CDF52}" type="pres">
      <dgm:prSet presAssocID="{BBC465DE-EA5E-4695-81DF-E1E4F621C693}" presName="connTx" presStyleLbl="parChTrans1D2" presStyleIdx="0" presStyleCnt="3"/>
      <dgm:spPr/>
      <dgm:t>
        <a:bodyPr/>
        <a:lstStyle/>
        <a:p>
          <a:endParaRPr lang="es-AR"/>
        </a:p>
      </dgm:t>
    </dgm:pt>
    <dgm:pt modelId="{588EAFA3-E06E-4F58-9D7E-798EE3EA86F3}" type="pres">
      <dgm:prSet presAssocID="{4E80D6CD-3600-4FCA-A5FD-95103287A0AB}" presName="root2" presStyleCnt="0"/>
      <dgm:spPr/>
      <dgm:t>
        <a:bodyPr/>
        <a:lstStyle/>
        <a:p>
          <a:endParaRPr lang="es-AR"/>
        </a:p>
      </dgm:t>
    </dgm:pt>
    <dgm:pt modelId="{996557FD-C474-45C3-8F35-8C7909C65C2A}" type="pres">
      <dgm:prSet presAssocID="{4E80D6CD-3600-4FCA-A5FD-95103287A0AB}" presName="LevelTwoTextNode" presStyleLbl="node2" presStyleIdx="0" presStyleCnt="3">
        <dgm:presLayoutVars>
          <dgm:chPref val="3"/>
        </dgm:presLayoutVars>
      </dgm:prSet>
      <dgm:spPr/>
      <dgm:t>
        <a:bodyPr/>
        <a:lstStyle/>
        <a:p>
          <a:endParaRPr lang="es-AR"/>
        </a:p>
      </dgm:t>
    </dgm:pt>
    <dgm:pt modelId="{CBB92B7C-8E08-4E6F-9B85-B0C76A1A1FA9}" type="pres">
      <dgm:prSet presAssocID="{4E80D6CD-3600-4FCA-A5FD-95103287A0AB}" presName="level3hierChild" presStyleCnt="0"/>
      <dgm:spPr/>
      <dgm:t>
        <a:bodyPr/>
        <a:lstStyle/>
        <a:p>
          <a:endParaRPr lang="es-AR"/>
        </a:p>
      </dgm:t>
    </dgm:pt>
    <dgm:pt modelId="{F5B8889A-7B1B-4F9D-98C5-2E2C035A89F8}" type="pres">
      <dgm:prSet presAssocID="{E22CADE0-CE5D-4B38-AEDB-BBA2C2F4022C}" presName="conn2-1" presStyleLbl="parChTrans1D3" presStyleIdx="0" presStyleCnt="10"/>
      <dgm:spPr/>
      <dgm:t>
        <a:bodyPr/>
        <a:lstStyle/>
        <a:p>
          <a:endParaRPr lang="es-AR"/>
        </a:p>
      </dgm:t>
    </dgm:pt>
    <dgm:pt modelId="{69E8D460-63C2-4AED-BFD1-64B4F1357159}" type="pres">
      <dgm:prSet presAssocID="{E22CADE0-CE5D-4B38-AEDB-BBA2C2F4022C}" presName="connTx" presStyleLbl="parChTrans1D3" presStyleIdx="0" presStyleCnt="10"/>
      <dgm:spPr/>
      <dgm:t>
        <a:bodyPr/>
        <a:lstStyle/>
        <a:p>
          <a:endParaRPr lang="es-AR"/>
        </a:p>
      </dgm:t>
    </dgm:pt>
    <dgm:pt modelId="{93377404-C681-4A60-A674-225A462D39B9}" type="pres">
      <dgm:prSet presAssocID="{282D3B29-2040-473B-A1E2-1E8168E083D4}" presName="root2" presStyleCnt="0"/>
      <dgm:spPr/>
      <dgm:t>
        <a:bodyPr/>
        <a:lstStyle/>
        <a:p>
          <a:endParaRPr lang="es-AR"/>
        </a:p>
      </dgm:t>
    </dgm:pt>
    <dgm:pt modelId="{DCF87C6C-4673-4999-B978-B00853CE058F}" type="pres">
      <dgm:prSet presAssocID="{282D3B29-2040-473B-A1E2-1E8168E083D4}" presName="LevelTwoTextNode" presStyleLbl="node3" presStyleIdx="0" presStyleCnt="10">
        <dgm:presLayoutVars>
          <dgm:chPref val="3"/>
        </dgm:presLayoutVars>
      </dgm:prSet>
      <dgm:spPr/>
      <dgm:t>
        <a:bodyPr/>
        <a:lstStyle/>
        <a:p>
          <a:endParaRPr lang="es-AR"/>
        </a:p>
      </dgm:t>
    </dgm:pt>
    <dgm:pt modelId="{14C95F02-042F-48FE-B555-CB6FBB7B3C92}" type="pres">
      <dgm:prSet presAssocID="{282D3B29-2040-473B-A1E2-1E8168E083D4}" presName="level3hierChild" presStyleCnt="0"/>
      <dgm:spPr/>
      <dgm:t>
        <a:bodyPr/>
        <a:lstStyle/>
        <a:p>
          <a:endParaRPr lang="es-AR"/>
        </a:p>
      </dgm:t>
    </dgm:pt>
    <dgm:pt modelId="{A824E9E1-3975-48DD-8BB1-16379DF79407}" type="pres">
      <dgm:prSet presAssocID="{2D4905A2-C2C7-449B-ACF2-99AE976E3719}" presName="conn2-1" presStyleLbl="parChTrans1D3" presStyleIdx="1" presStyleCnt="10"/>
      <dgm:spPr/>
      <dgm:t>
        <a:bodyPr/>
        <a:lstStyle/>
        <a:p>
          <a:endParaRPr lang="es-AR"/>
        </a:p>
      </dgm:t>
    </dgm:pt>
    <dgm:pt modelId="{10AAFFCB-281E-4641-869C-8335F4987E44}" type="pres">
      <dgm:prSet presAssocID="{2D4905A2-C2C7-449B-ACF2-99AE976E3719}" presName="connTx" presStyleLbl="parChTrans1D3" presStyleIdx="1" presStyleCnt="10"/>
      <dgm:spPr/>
      <dgm:t>
        <a:bodyPr/>
        <a:lstStyle/>
        <a:p>
          <a:endParaRPr lang="es-AR"/>
        </a:p>
      </dgm:t>
    </dgm:pt>
    <dgm:pt modelId="{8D3E9237-F01A-4ACD-A0BE-9DE2F1181A61}" type="pres">
      <dgm:prSet presAssocID="{E2D99889-DBAC-4851-94C2-CC4416E02A05}" presName="root2" presStyleCnt="0"/>
      <dgm:spPr/>
      <dgm:t>
        <a:bodyPr/>
        <a:lstStyle/>
        <a:p>
          <a:endParaRPr lang="es-AR"/>
        </a:p>
      </dgm:t>
    </dgm:pt>
    <dgm:pt modelId="{FB982F87-6F35-43D6-841E-51788810657E}" type="pres">
      <dgm:prSet presAssocID="{E2D99889-DBAC-4851-94C2-CC4416E02A05}" presName="LevelTwoTextNode" presStyleLbl="node3" presStyleIdx="1" presStyleCnt="10">
        <dgm:presLayoutVars>
          <dgm:chPref val="3"/>
        </dgm:presLayoutVars>
      </dgm:prSet>
      <dgm:spPr/>
      <dgm:t>
        <a:bodyPr/>
        <a:lstStyle/>
        <a:p>
          <a:endParaRPr lang="es-AR"/>
        </a:p>
      </dgm:t>
    </dgm:pt>
    <dgm:pt modelId="{BBC94F6D-4524-4DFB-8343-272A0FFAFA96}" type="pres">
      <dgm:prSet presAssocID="{E2D99889-DBAC-4851-94C2-CC4416E02A05}" presName="level3hierChild" presStyleCnt="0"/>
      <dgm:spPr/>
      <dgm:t>
        <a:bodyPr/>
        <a:lstStyle/>
        <a:p>
          <a:endParaRPr lang="es-AR"/>
        </a:p>
      </dgm:t>
    </dgm:pt>
    <dgm:pt modelId="{BD9F354A-17D8-4FEE-967D-41BFBA47930D}" type="pres">
      <dgm:prSet presAssocID="{22630DFB-2053-4F37-B377-CDC6864EE9FE}" presName="conn2-1" presStyleLbl="parChTrans1D3" presStyleIdx="2" presStyleCnt="10"/>
      <dgm:spPr/>
      <dgm:t>
        <a:bodyPr/>
        <a:lstStyle/>
        <a:p>
          <a:endParaRPr lang="es-AR"/>
        </a:p>
      </dgm:t>
    </dgm:pt>
    <dgm:pt modelId="{FED1C230-D453-489B-B7CB-D9941E13FB65}" type="pres">
      <dgm:prSet presAssocID="{22630DFB-2053-4F37-B377-CDC6864EE9FE}" presName="connTx" presStyleLbl="parChTrans1D3" presStyleIdx="2" presStyleCnt="10"/>
      <dgm:spPr/>
      <dgm:t>
        <a:bodyPr/>
        <a:lstStyle/>
        <a:p>
          <a:endParaRPr lang="es-AR"/>
        </a:p>
      </dgm:t>
    </dgm:pt>
    <dgm:pt modelId="{07573BEE-F2A1-4564-95AF-8085F8B87D05}" type="pres">
      <dgm:prSet presAssocID="{DF2BCD4E-4465-4622-8187-380B5E076B0E}" presName="root2" presStyleCnt="0"/>
      <dgm:spPr/>
      <dgm:t>
        <a:bodyPr/>
        <a:lstStyle/>
        <a:p>
          <a:endParaRPr lang="es-AR"/>
        </a:p>
      </dgm:t>
    </dgm:pt>
    <dgm:pt modelId="{CF86637F-48A8-4223-89B6-3B32BA739379}" type="pres">
      <dgm:prSet presAssocID="{DF2BCD4E-4465-4622-8187-380B5E076B0E}" presName="LevelTwoTextNode" presStyleLbl="node3" presStyleIdx="2" presStyleCnt="10">
        <dgm:presLayoutVars>
          <dgm:chPref val="3"/>
        </dgm:presLayoutVars>
      </dgm:prSet>
      <dgm:spPr/>
      <dgm:t>
        <a:bodyPr/>
        <a:lstStyle/>
        <a:p>
          <a:endParaRPr lang="es-AR"/>
        </a:p>
      </dgm:t>
    </dgm:pt>
    <dgm:pt modelId="{5128D80B-0871-40C5-B5C6-660C192A66C9}" type="pres">
      <dgm:prSet presAssocID="{DF2BCD4E-4465-4622-8187-380B5E076B0E}" presName="level3hierChild" presStyleCnt="0"/>
      <dgm:spPr/>
      <dgm:t>
        <a:bodyPr/>
        <a:lstStyle/>
        <a:p>
          <a:endParaRPr lang="es-AR"/>
        </a:p>
      </dgm:t>
    </dgm:pt>
    <dgm:pt modelId="{F896F1E1-34BB-4CB3-BC84-55E760D1E317}" type="pres">
      <dgm:prSet presAssocID="{78CC7C70-EFA0-453E-8BFF-A19F0DC168D0}" presName="conn2-1" presStyleLbl="parChTrans1D2" presStyleIdx="1" presStyleCnt="3"/>
      <dgm:spPr/>
      <dgm:t>
        <a:bodyPr/>
        <a:lstStyle/>
        <a:p>
          <a:endParaRPr lang="es-AR"/>
        </a:p>
      </dgm:t>
    </dgm:pt>
    <dgm:pt modelId="{E641A4CC-A098-4BD5-AEBA-4B63D7D7FD48}" type="pres">
      <dgm:prSet presAssocID="{78CC7C70-EFA0-453E-8BFF-A19F0DC168D0}" presName="connTx" presStyleLbl="parChTrans1D2" presStyleIdx="1" presStyleCnt="3"/>
      <dgm:spPr/>
      <dgm:t>
        <a:bodyPr/>
        <a:lstStyle/>
        <a:p>
          <a:endParaRPr lang="es-AR"/>
        </a:p>
      </dgm:t>
    </dgm:pt>
    <dgm:pt modelId="{D9F472CB-97EF-4888-B247-E51EDFC1DE34}" type="pres">
      <dgm:prSet presAssocID="{F2B7B05C-4612-4000-9679-8BF8DE9ED415}" presName="root2" presStyleCnt="0"/>
      <dgm:spPr/>
      <dgm:t>
        <a:bodyPr/>
        <a:lstStyle/>
        <a:p>
          <a:endParaRPr lang="es-AR"/>
        </a:p>
      </dgm:t>
    </dgm:pt>
    <dgm:pt modelId="{B929425F-E6AF-436E-9953-49A6EBBC7280}" type="pres">
      <dgm:prSet presAssocID="{F2B7B05C-4612-4000-9679-8BF8DE9ED415}" presName="LevelTwoTextNode" presStyleLbl="node2" presStyleIdx="1" presStyleCnt="3">
        <dgm:presLayoutVars>
          <dgm:chPref val="3"/>
        </dgm:presLayoutVars>
      </dgm:prSet>
      <dgm:spPr/>
      <dgm:t>
        <a:bodyPr/>
        <a:lstStyle/>
        <a:p>
          <a:endParaRPr lang="es-AR"/>
        </a:p>
      </dgm:t>
    </dgm:pt>
    <dgm:pt modelId="{7D45F88D-7789-47A3-9805-361359671DAB}" type="pres">
      <dgm:prSet presAssocID="{F2B7B05C-4612-4000-9679-8BF8DE9ED415}" presName="level3hierChild" presStyleCnt="0"/>
      <dgm:spPr/>
      <dgm:t>
        <a:bodyPr/>
        <a:lstStyle/>
        <a:p>
          <a:endParaRPr lang="es-AR"/>
        </a:p>
      </dgm:t>
    </dgm:pt>
    <dgm:pt modelId="{99B75C20-5FBE-4C0F-A09C-3CF22A1D78A0}" type="pres">
      <dgm:prSet presAssocID="{61CC59EA-998F-4E59-9E2C-B645E0C001C6}" presName="conn2-1" presStyleLbl="parChTrans1D3" presStyleIdx="3" presStyleCnt="10"/>
      <dgm:spPr/>
      <dgm:t>
        <a:bodyPr/>
        <a:lstStyle/>
        <a:p>
          <a:endParaRPr lang="es-AR"/>
        </a:p>
      </dgm:t>
    </dgm:pt>
    <dgm:pt modelId="{941207F2-3C27-4F56-A4A8-3F8E211B3F62}" type="pres">
      <dgm:prSet presAssocID="{61CC59EA-998F-4E59-9E2C-B645E0C001C6}" presName="connTx" presStyleLbl="parChTrans1D3" presStyleIdx="3" presStyleCnt="10"/>
      <dgm:spPr/>
      <dgm:t>
        <a:bodyPr/>
        <a:lstStyle/>
        <a:p>
          <a:endParaRPr lang="es-AR"/>
        </a:p>
      </dgm:t>
    </dgm:pt>
    <dgm:pt modelId="{363F996F-7E21-4495-9866-77C58D184885}" type="pres">
      <dgm:prSet presAssocID="{C7AE52B1-5F28-4AFA-9EAB-EE1D620A4F20}" presName="root2" presStyleCnt="0"/>
      <dgm:spPr/>
      <dgm:t>
        <a:bodyPr/>
        <a:lstStyle/>
        <a:p>
          <a:endParaRPr lang="es-AR"/>
        </a:p>
      </dgm:t>
    </dgm:pt>
    <dgm:pt modelId="{22756E93-7911-4671-AC55-185939DCC574}" type="pres">
      <dgm:prSet presAssocID="{C7AE52B1-5F28-4AFA-9EAB-EE1D620A4F20}" presName="LevelTwoTextNode" presStyleLbl="node3" presStyleIdx="3" presStyleCnt="10">
        <dgm:presLayoutVars>
          <dgm:chPref val="3"/>
        </dgm:presLayoutVars>
      </dgm:prSet>
      <dgm:spPr/>
      <dgm:t>
        <a:bodyPr/>
        <a:lstStyle/>
        <a:p>
          <a:endParaRPr lang="es-AR"/>
        </a:p>
      </dgm:t>
    </dgm:pt>
    <dgm:pt modelId="{075A551E-AA06-464B-9329-EC01D030DEE0}" type="pres">
      <dgm:prSet presAssocID="{C7AE52B1-5F28-4AFA-9EAB-EE1D620A4F20}" presName="level3hierChild" presStyleCnt="0"/>
      <dgm:spPr/>
      <dgm:t>
        <a:bodyPr/>
        <a:lstStyle/>
        <a:p>
          <a:endParaRPr lang="es-AR"/>
        </a:p>
      </dgm:t>
    </dgm:pt>
    <dgm:pt modelId="{3139963E-2618-4DA0-B443-9D919459A96C}" type="pres">
      <dgm:prSet presAssocID="{1DD1375D-6A75-4656-B822-5CC4857A77F7}" presName="conn2-1" presStyleLbl="parChTrans1D3" presStyleIdx="4" presStyleCnt="10"/>
      <dgm:spPr/>
      <dgm:t>
        <a:bodyPr/>
        <a:lstStyle/>
        <a:p>
          <a:endParaRPr lang="es-AR"/>
        </a:p>
      </dgm:t>
    </dgm:pt>
    <dgm:pt modelId="{AC3E8667-F22F-4E23-88AF-7CB113979416}" type="pres">
      <dgm:prSet presAssocID="{1DD1375D-6A75-4656-B822-5CC4857A77F7}" presName="connTx" presStyleLbl="parChTrans1D3" presStyleIdx="4" presStyleCnt="10"/>
      <dgm:spPr/>
      <dgm:t>
        <a:bodyPr/>
        <a:lstStyle/>
        <a:p>
          <a:endParaRPr lang="es-AR"/>
        </a:p>
      </dgm:t>
    </dgm:pt>
    <dgm:pt modelId="{8C8AE11C-56A5-4092-AF2F-0634E25FBE5B}" type="pres">
      <dgm:prSet presAssocID="{6A7F68EB-1728-4CEA-B886-DD95DA414743}" presName="root2" presStyleCnt="0"/>
      <dgm:spPr/>
      <dgm:t>
        <a:bodyPr/>
        <a:lstStyle/>
        <a:p>
          <a:endParaRPr lang="es-AR"/>
        </a:p>
      </dgm:t>
    </dgm:pt>
    <dgm:pt modelId="{BC5CADB1-72E9-4C66-9EAA-4EEBCE5437A5}" type="pres">
      <dgm:prSet presAssocID="{6A7F68EB-1728-4CEA-B886-DD95DA414743}" presName="LevelTwoTextNode" presStyleLbl="node3" presStyleIdx="4" presStyleCnt="10">
        <dgm:presLayoutVars>
          <dgm:chPref val="3"/>
        </dgm:presLayoutVars>
      </dgm:prSet>
      <dgm:spPr/>
      <dgm:t>
        <a:bodyPr/>
        <a:lstStyle/>
        <a:p>
          <a:endParaRPr lang="es-AR"/>
        </a:p>
      </dgm:t>
    </dgm:pt>
    <dgm:pt modelId="{23BC1AD1-8DC2-4A9D-869A-0CC3335282AC}" type="pres">
      <dgm:prSet presAssocID="{6A7F68EB-1728-4CEA-B886-DD95DA414743}" presName="level3hierChild" presStyleCnt="0"/>
      <dgm:spPr/>
      <dgm:t>
        <a:bodyPr/>
        <a:lstStyle/>
        <a:p>
          <a:endParaRPr lang="es-AR"/>
        </a:p>
      </dgm:t>
    </dgm:pt>
    <dgm:pt modelId="{8A443024-9F07-4B88-9851-4F99D3D22250}" type="pres">
      <dgm:prSet presAssocID="{BEFF492E-EF93-4CE6-AB0F-5569A0EBDFE5}" presName="conn2-1" presStyleLbl="parChTrans1D3" presStyleIdx="5" presStyleCnt="10"/>
      <dgm:spPr/>
      <dgm:t>
        <a:bodyPr/>
        <a:lstStyle/>
        <a:p>
          <a:endParaRPr lang="es-AR"/>
        </a:p>
      </dgm:t>
    </dgm:pt>
    <dgm:pt modelId="{A8CD3429-2AC8-45F0-AC07-1494DC53449A}" type="pres">
      <dgm:prSet presAssocID="{BEFF492E-EF93-4CE6-AB0F-5569A0EBDFE5}" presName="connTx" presStyleLbl="parChTrans1D3" presStyleIdx="5" presStyleCnt="10"/>
      <dgm:spPr/>
      <dgm:t>
        <a:bodyPr/>
        <a:lstStyle/>
        <a:p>
          <a:endParaRPr lang="es-AR"/>
        </a:p>
      </dgm:t>
    </dgm:pt>
    <dgm:pt modelId="{C193B243-6C7A-452F-99E1-6F96BF77CB78}" type="pres">
      <dgm:prSet presAssocID="{E8EA91C9-2DC2-4165-8193-90E2A15E7C26}" presName="root2" presStyleCnt="0"/>
      <dgm:spPr/>
      <dgm:t>
        <a:bodyPr/>
        <a:lstStyle/>
        <a:p>
          <a:endParaRPr lang="es-AR"/>
        </a:p>
      </dgm:t>
    </dgm:pt>
    <dgm:pt modelId="{05910EE0-4759-4F03-A2A8-4ADC0C4AC3FC}" type="pres">
      <dgm:prSet presAssocID="{E8EA91C9-2DC2-4165-8193-90E2A15E7C26}" presName="LevelTwoTextNode" presStyleLbl="node3" presStyleIdx="5" presStyleCnt="10">
        <dgm:presLayoutVars>
          <dgm:chPref val="3"/>
        </dgm:presLayoutVars>
      </dgm:prSet>
      <dgm:spPr/>
      <dgm:t>
        <a:bodyPr/>
        <a:lstStyle/>
        <a:p>
          <a:endParaRPr lang="es-AR"/>
        </a:p>
      </dgm:t>
    </dgm:pt>
    <dgm:pt modelId="{236FD5A9-962B-49B7-9501-31400990E938}" type="pres">
      <dgm:prSet presAssocID="{E8EA91C9-2DC2-4165-8193-90E2A15E7C26}" presName="level3hierChild" presStyleCnt="0"/>
      <dgm:spPr/>
      <dgm:t>
        <a:bodyPr/>
        <a:lstStyle/>
        <a:p>
          <a:endParaRPr lang="es-AR"/>
        </a:p>
      </dgm:t>
    </dgm:pt>
    <dgm:pt modelId="{F8F04140-AE42-4413-A17F-689F174A01A6}" type="pres">
      <dgm:prSet presAssocID="{800004C2-FD74-4CEB-8254-98A9C8C483F5}" presName="conn2-1" presStyleLbl="parChTrans1D3" presStyleIdx="6" presStyleCnt="10"/>
      <dgm:spPr/>
      <dgm:t>
        <a:bodyPr/>
        <a:lstStyle/>
        <a:p>
          <a:endParaRPr lang="es-AR"/>
        </a:p>
      </dgm:t>
    </dgm:pt>
    <dgm:pt modelId="{DB87CE5A-9430-424F-8F71-E97A53FFEF21}" type="pres">
      <dgm:prSet presAssocID="{800004C2-FD74-4CEB-8254-98A9C8C483F5}" presName="connTx" presStyleLbl="parChTrans1D3" presStyleIdx="6" presStyleCnt="10"/>
      <dgm:spPr/>
      <dgm:t>
        <a:bodyPr/>
        <a:lstStyle/>
        <a:p>
          <a:endParaRPr lang="es-AR"/>
        </a:p>
      </dgm:t>
    </dgm:pt>
    <dgm:pt modelId="{928FCA23-6695-4ED6-9484-FECC21C3855D}" type="pres">
      <dgm:prSet presAssocID="{08B5D957-1185-4603-A023-BF343DE5D5F9}" presName="root2" presStyleCnt="0"/>
      <dgm:spPr/>
      <dgm:t>
        <a:bodyPr/>
        <a:lstStyle/>
        <a:p>
          <a:endParaRPr lang="es-AR"/>
        </a:p>
      </dgm:t>
    </dgm:pt>
    <dgm:pt modelId="{1657EA34-91DC-4F83-AEE1-45D7B460419F}" type="pres">
      <dgm:prSet presAssocID="{08B5D957-1185-4603-A023-BF343DE5D5F9}" presName="LevelTwoTextNode" presStyleLbl="node3" presStyleIdx="6" presStyleCnt="10">
        <dgm:presLayoutVars>
          <dgm:chPref val="3"/>
        </dgm:presLayoutVars>
      </dgm:prSet>
      <dgm:spPr/>
      <dgm:t>
        <a:bodyPr/>
        <a:lstStyle/>
        <a:p>
          <a:endParaRPr lang="es-AR"/>
        </a:p>
      </dgm:t>
    </dgm:pt>
    <dgm:pt modelId="{96013CA6-DAAC-4864-B56E-6B8A202BFCA2}" type="pres">
      <dgm:prSet presAssocID="{08B5D957-1185-4603-A023-BF343DE5D5F9}" presName="level3hierChild" presStyleCnt="0"/>
      <dgm:spPr/>
      <dgm:t>
        <a:bodyPr/>
        <a:lstStyle/>
        <a:p>
          <a:endParaRPr lang="es-AR"/>
        </a:p>
      </dgm:t>
    </dgm:pt>
    <dgm:pt modelId="{7BED4291-AE65-4D64-84B1-4B65212D7EAE}" type="pres">
      <dgm:prSet presAssocID="{DF04D7C5-92CC-4F12-B20C-3D4CE31CB2BF}" presName="conn2-1" presStyleLbl="parChTrans1D2" presStyleIdx="2" presStyleCnt="3"/>
      <dgm:spPr/>
      <dgm:t>
        <a:bodyPr/>
        <a:lstStyle/>
        <a:p>
          <a:endParaRPr lang="es-AR"/>
        </a:p>
      </dgm:t>
    </dgm:pt>
    <dgm:pt modelId="{B04FF750-324D-4CF9-9208-C6B7E361C2A7}" type="pres">
      <dgm:prSet presAssocID="{DF04D7C5-92CC-4F12-B20C-3D4CE31CB2BF}" presName="connTx" presStyleLbl="parChTrans1D2" presStyleIdx="2" presStyleCnt="3"/>
      <dgm:spPr/>
      <dgm:t>
        <a:bodyPr/>
        <a:lstStyle/>
        <a:p>
          <a:endParaRPr lang="es-AR"/>
        </a:p>
      </dgm:t>
    </dgm:pt>
    <dgm:pt modelId="{DA379B7E-5F4A-4EB0-84B1-98A2BDEA78E9}" type="pres">
      <dgm:prSet presAssocID="{8F421544-9C30-4B45-B115-7B3554F7D955}" presName="root2" presStyleCnt="0"/>
      <dgm:spPr/>
      <dgm:t>
        <a:bodyPr/>
        <a:lstStyle/>
        <a:p>
          <a:endParaRPr lang="es-AR"/>
        </a:p>
      </dgm:t>
    </dgm:pt>
    <dgm:pt modelId="{7D70A0D2-0F7E-4C34-BF69-5AA97D384028}" type="pres">
      <dgm:prSet presAssocID="{8F421544-9C30-4B45-B115-7B3554F7D955}" presName="LevelTwoTextNode" presStyleLbl="node2" presStyleIdx="2" presStyleCnt="3">
        <dgm:presLayoutVars>
          <dgm:chPref val="3"/>
        </dgm:presLayoutVars>
      </dgm:prSet>
      <dgm:spPr/>
      <dgm:t>
        <a:bodyPr/>
        <a:lstStyle/>
        <a:p>
          <a:endParaRPr lang="es-AR"/>
        </a:p>
      </dgm:t>
    </dgm:pt>
    <dgm:pt modelId="{F77E0828-22BC-4AF4-B2A9-5AFA11434967}" type="pres">
      <dgm:prSet presAssocID="{8F421544-9C30-4B45-B115-7B3554F7D955}" presName="level3hierChild" presStyleCnt="0"/>
      <dgm:spPr/>
      <dgm:t>
        <a:bodyPr/>
        <a:lstStyle/>
        <a:p>
          <a:endParaRPr lang="es-AR"/>
        </a:p>
      </dgm:t>
    </dgm:pt>
    <dgm:pt modelId="{A201100E-F4C3-4258-890B-09E0A1098DAA}" type="pres">
      <dgm:prSet presAssocID="{414E6A6B-F230-440A-A479-57729E23A15B}" presName="conn2-1" presStyleLbl="parChTrans1D3" presStyleIdx="7" presStyleCnt="10"/>
      <dgm:spPr/>
      <dgm:t>
        <a:bodyPr/>
        <a:lstStyle/>
        <a:p>
          <a:endParaRPr lang="es-AR"/>
        </a:p>
      </dgm:t>
    </dgm:pt>
    <dgm:pt modelId="{641D550F-0486-4C1E-98FD-5A18E9C24D5D}" type="pres">
      <dgm:prSet presAssocID="{414E6A6B-F230-440A-A479-57729E23A15B}" presName="connTx" presStyleLbl="parChTrans1D3" presStyleIdx="7" presStyleCnt="10"/>
      <dgm:spPr/>
      <dgm:t>
        <a:bodyPr/>
        <a:lstStyle/>
        <a:p>
          <a:endParaRPr lang="es-AR"/>
        </a:p>
      </dgm:t>
    </dgm:pt>
    <dgm:pt modelId="{9C235830-467A-49CF-9B67-C66509F7FCE7}" type="pres">
      <dgm:prSet presAssocID="{2E6E7FA0-A2F6-4B36-BBEA-FA79DA236DDD}" presName="root2" presStyleCnt="0"/>
      <dgm:spPr/>
      <dgm:t>
        <a:bodyPr/>
        <a:lstStyle/>
        <a:p>
          <a:endParaRPr lang="es-AR"/>
        </a:p>
      </dgm:t>
    </dgm:pt>
    <dgm:pt modelId="{EAD44704-BF9E-4328-945D-967A76B7C0CA}" type="pres">
      <dgm:prSet presAssocID="{2E6E7FA0-A2F6-4B36-BBEA-FA79DA236DDD}" presName="LevelTwoTextNode" presStyleLbl="node3" presStyleIdx="7" presStyleCnt="10">
        <dgm:presLayoutVars>
          <dgm:chPref val="3"/>
        </dgm:presLayoutVars>
      </dgm:prSet>
      <dgm:spPr/>
      <dgm:t>
        <a:bodyPr/>
        <a:lstStyle/>
        <a:p>
          <a:endParaRPr lang="es-AR"/>
        </a:p>
      </dgm:t>
    </dgm:pt>
    <dgm:pt modelId="{97393DDA-11D2-4F94-9078-FD68672F07C7}" type="pres">
      <dgm:prSet presAssocID="{2E6E7FA0-A2F6-4B36-BBEA-FA79DA236DDD}" presName="level3hierChild" presStyleCnt="0"/>
      <dgm:spPr/>
      <dgm:t>
        <a:bodyPr/>
        <a:lstStyle/>
        <a:p>
          <a:endParaRPr lang="es-AR"/>
        </a:p>
      </dgm:t>
    </dgm:pt>
    <dgm:pt modelId="{EDC1E536-1CEB-4EE2-947A-9519603C969B}" type="pres">
      <dgm:prSet presAssocID="{D74FD61E-5A53-4CC3-A3F7-1825ECB33C32}" presName="conn2-1" presStyleLbl="parChTrans1D3" presStyleIdx="8" presStyleCnt="10"/>
      <dgm:spPr/>
      <dgm:t>
        <a:bodyPr/>
        <a:lstStyle/>
        <a:p>
          <a:endParaRPr lang="es-AR"/>
        </a:p>
      </dgm:t>
    </dgm:pt>
    <dgm:pt modelId="{691C0CBA-C345-47AC-84D7-A30BD9FCD6EC}" type="pres">
      <dgm:prSet presAssocID="{D74FD61E-5A53-4CC3-A3F7-1825ECB33C32}" presName="connTx" presStyleLbl="parChTrans1D3" presStyleIdx="8" presStyleCnt="10"/>
      <dgm:spPr/>
      <dgm:t>
        <a:bodyPr/>
        <a:lstStyle/>
        <a:p>
          <a:endParaRPr lang="es-AR"/>
        </a:p>
      </dgm:t>
    </dgm:pt>
    <dgm:pt modelId="{C32350E2-E236-451C-8261-042E9AE2B6EE}" type="pres">
      <dgm:prSet presAssocID="{2571FD99-EB15-45CC-B007-30468036AD0C}" presName="root2" presStyleCnt="0"/>
      <dgm:spPr/>
      <dgm:t>
        <a:bodyPr/>
        <a:lstStyle/>
        <a:p>
          <a:endParaRPr lang="es-AR"/>
        </a:p>
      </dgm:t>
    </dgm:pt>
    <dgm:pt modelId="{7C2D9550-1078-4D12-AF46-7EFE6813329C}" type="pres">
      <dgm:prSet presAssocID="{2571FD99-EB15-45CC-B007-30468036AD0C}" presName="LevelTwoTextNode" presStyleLbl="node3" presStyleIdx="8" presStyleCnt="10">
        <dgm:presLayoutVars>
          <dgm:chPref val="3"/>
        </dgm:presLayoutVars>
      </dgm:prSet>
      <dgm:spPr/>
      <dgm:t>
        <a:bodyPr/>
        <a:lstStyle/>
        <a:p>
          <a:endParaRPr lang="es-AR"/>
        </a:p>
      </dgm:t>
    </dgm:pt>
    <dgm:pt modelId="{DA8BEEEB-A469-4AD0-B7B8-B8695DD9FC61}" type="pres">
      <dgm:prSet presAssocID="{2571FD99-EB15-45CC-B007-30468036AD0C}" presName="level3hierChild" presStyleCnt="0"/>
      <dgm:spPr/>
      <dgm:t>
        <a:bodyPr/>
        <a:lstStyle/>
        <a:p>
          <a:endParaRPr lang="es-AR"/>
        </a:p>
      </dgm:t>
    </dgm:pt>
    <dgm:pt modelId="{48762D83-4065-45E8-811D-B780F2303ACA}" type="pres">
      <dgm:prSet presAssocID="{F2AF4DCD-C084-47FE-893B-7C8D8F2AE346}" presName="conn2-1" presStyleLbl="parChTrans1D3" presStyleIdx="9" presStyleCnt="10"/>
      <dgm:spPr/>
      <dgm:t>
        <a:bodyPr/>
        <a:lstStyle/>
        <a:p>
          <a:endParaRPr lang="es-AR"/>
        </a:p>
      </dgm:t>
    </dgm:pt>
    <dgm:pt modelId="{D7CA1916-01DA-4D7B-AC5F-453A5D1CFB99}" type="pres">
      <dgm:prSet presAssocID="{F2AF4DCD-C084-47FE-893B-7C8D8F2AE346}" presName="connTx" presStyleLbl="parChTrans1D3" presStyleIdx="9" presStyleCnt="10"/>
      <dgm:spPr/>
      <dgm:t>
        <a:bodyPr/>
        <a:lstStyle/>
        <a:p>
          <a:endParaRPr lang="es-AR"/>
        </a:p>
      </dgm:t>
    </dgm:pt>
    <dgm:pt modelId="{BE174DBF-94C7-4633-AB7D-28BA0E4D98E0}" type="pres">
      <dgm:prSet presAssocID="{3C027B34-8B16-4A62-B2D2-2667A97CE652}" presName="root2" presStyleCnt="0"/>
      <dgm:spPr/>
      <dgm:t>
        <a:bodyPr/>
        <a:lstStyle/>
        <a:p>
          <a:endParaRPr lang="es-AR"/>
        </a:p>
      </dgm:t>
    </dgm:pt>
    <dgm:pt modelId="{D0C0129F-EB64-41AF-AA78-5B9932B66081}" type="pres">
      <dgm:prSet presAssocID="{3C027B34-8B16-4A62-B2D2-2667A97CE652}" presName="LevelTwoTextNode" presStyleLbl="node3" presStyleIdx="9" presStyleCnt="10" custLinFactNeighborX="3502">
        <dgm:presLayoutVars>
          <dgm:chPref val="3"/>
        </dgm:presLayoutVars>
      </dgm:prSet>
      <dgm:spPr/>
      <dgm:t>
        <a:bodyPr/>
        <a:lstStyle/>
        <a:p>
          <a:endParaRPr lang="es-AR"/>
        </a:p>
      </dgm:t>
    </dgm:pt>
    <dgm:pt modelId="{9D9EB194-0847-41C8-8E98-46AD3B8CA484}" type="pres">
      <dgm:prSet presAssocID="{3C027B34-8B16-4A62-B2D2-2667A97CE652}" presName="level3hierChild" presStyleCnt="0"/>
      <dgm:spPr/>
      <dgm:t>
        <a:bodyPr/>
        <a:lstStyle/>
        <a:p>
          <a:endParaRPr lang="es-AR"/>
        </a:p>
      </dgm:t>
    </dgm:pt>
  </dgm:ptLst>
  <dgm:cxnLst>
    <dgm:cxn modelId="{026F0073-59F1-4F67-8004-D9622182DEC4}" type="presOf" srcId="{22630DFB-2053-4F37-B377-CDC6864EE9FE}" destId="{FED1C230-D453-489B-B7CB-D9941E13FB65}" srcOrd="1" destOrd="0" presId="urn:microsoft.com/office/officeart/2005/8/layout/hierarchy2"/>
    <dgm:cxn modelId="{EEAAEBCF-DE5D-4A56-8E55-7C0AC5F4EA42}" type="presOf" srcId="{2D4905A2-C2C7-449B-ACF2-99AE976E3719}" destId="{10AAFFCB-281E-4641-869C-8335F4987E44}" srcOrd="1" destOrd="0" presId="urn:microsoft.com/office/officeart/2005/8/layout/hierarchy2"/>
    <dgm:cxn modelId="{F1062768-807F-4567-B78F-F107AA398520}" srcId="{4E80D6CD-3600-4FCA-A5FD-95103287A0AB}" destId="{DF2BCD4E-4465-4622-8187-380B5E076B0E}" srcOrd="2" destOrd="0" parTransId="{22630DFB-2053-4F37-B377-CDC6864EE9FE}" sibTransId="{F0826436-48CA-4D8D-B816-966EC5BEE31C}"/>
    <dgm:cxn modelId="{55D6B05E-C659-4D3F-9E20-BF5F9989A667}" type="presOf" srcId="{78CC7C70-EFA0-453E-8BFF-A19F0DC168D0}" destId="{E641A4CC-A098-4BD5-AEBA-4B63D7D7FD48}" srcOrd="1" destOrd="0" presId="urn:microsoft.com/office/officeart/2005/8/layout/hierarchy2"/>
    <dgm:cxn modelId="{E274C816-71B1-4F8F-8E75-575D303260FB}" type="presOf" srcId="{414E6A6B-F230-440A-A479-57729E23A15B}" destId="{A201100E-F4C3-4258-890B-09E0A1098DAA}" srcOrd="0" destOrd="0" presId="urn:microsoft.com/office/officeart/2005/8/layout/hierarchy2"/>
    <dgm:cxn modelId="{F686EDD2-FFE1-4282-9113-308235EECB39}" type="presOf" srcId="{1671B4C5-0E44-4C6A-BA0B-5D1816DFE43A}" destId="{8B15C89B-F956-401A-9384-4002ABF58DC6}" srcOrd="0" destOrd="0" presId="urn:microsoft.com/office/officeart/2005/8/layout/hierarchy2"/>
    <dgm:cxn modelId="{47FF74C6-B05B-4B63-B8E4-A89017CF4901}" type="presOf" srcId="{BBC465DE-EA5E-4695-81DF-E1E4F621C693}" destId="{BEE0C368-91B8-48D3-831F-3DDB6B38913D}" srcOrd="0" destOrd="0" presId="urn:microsoft.com/office/officeart/2005/8/layout/hierarchy2"/>
    <dgm:cxn modelId="{888E01D1-6E48-4DB2-87B6-7B2E02A2CBDB}" srcId="{F2B7B05C-4612-4000-9679-8BF8DE9ED415}" destId="{C7AE52B1-5F28-4AFA-9EAB-EE1D620A4F20}" srcOrd="0" destOrd="0" parTransId="{61CC59EA-998F-4E59-9E2C-B645E0C001C6}" sibTransId="{6DF7DEDC-A6A1-4A35-AF4A-5B2C0B65595E}"/>
    <dgm:cxn modelId="{8769FECD-2664-426C-8C58-3393E1512389}" type="presOf" srcId="{414E6A6B-F230-440A-A479-57729E23A15B}" destId="{641D550F-0486-4C1E-98FD-5A18E9C24D5D}" srcOrd="1" destOrd="0" presId="urn:microsoft.com/office/officeart/2005/8/layout/hierarchy2"/>
    <dgm:cxn modelId="{F11AB4DA-7664-4863-8A2F-48A2DB6B03B5}" type="presOf" srcId="{BEFF492E-EF93-4CE6-AB0F-5569A0EBDFE5}" destId="{8A443024-9F07-4B88-9851-4F99D3D22250}" srcOrd="0" destOrd="0" presId="urn:microsoft.com/office/officeart/2005/8/layout/hierarchy2"/>
    <dgm:cxn modelId="{655D8041-22E0-4F4E-B214-2B2528120B5F}" type="presOf" srcId="{F2AF4DCD-C084-47FE-893B-7C8D8F2AE346}" destId="{48762D83-4065-45E8-811D-B780F2303ACA}" srcOrd="0" destOrd="0" presId="urn:microsoft.com/office/officeart/2005/8/layout/hierarchy2"/>
    <dgm:cxn modelId="{F72CFDA9-B012-42B5-9AEE-2E2AF8025115}" srcId="{1671B4C5-0E44-4C6A-BA0B-5D1816DFE43A}" destId="{4E80D6CD-3600-4FCA-A5FD-95103287A0AB}" srcOrd="0" destOrd="0" parTransId="{BBC465DE-EA5E-4695-81DF-E1E4F621C693}" sibTransId="{6CC2D89B-53A5-40AE-A6B9-B50A6B8AF18B}"/>
    <dgm:cxn modelId="{89E21766-D1CE-4368-9A1D-382CEA6605E9}" type="presOf" srcId="{61CC59EA-998F-4E59-9E2C-B645E0C001C6}" destId="{99B75C20-5FBE-4C0F-A09C-3CF22A1D78A0}" srcOrd="0" destOrd="0" presId="urn:microsoft.com/office/officeart/2005/8/layout/hierarchy2"/>
    <dgm:cxn modelId="{0AC5093F-9ADD-481F-8E47-8D621ED143F2}" type="presOf" srcId="{61CC59EA-998F-4E59-9E2C-B645E0C001C6}" destId="{941207F2-3C27-4F56-A4A8-3F8E211B3F62}" srcOrd="1" destOrd="0" presId="urn:microsoft.com/office/officeart/2005/8/layout/hierarchy2"/>
    <dgm:cxn modelId="{D9E1E80F-B996-4E1D-9F80-85034F35FE36}" srcId="{F2B7B05C-4612-4000-9679-8BF8DE9ED415}" destId="{08B5D957-1185-4603-A023-BF343DE5D5F9}" srcOrd="3" destOrd="0" parTransId="{800004C2-FD74-4CEB-8254-98A9C8C483F5}" sibTransId="{F0BD710F-1EE6-4151-B471-31A793A589DB}"/>
    <dgm:cxn modelId="{E0FB9315-D343-4D0F-8A82-83DA95E16180}" type="presOf" srcId="{800004C2-FD74-4CEB-8254-98A9C8C483F5}" destId="{DB87CE5A-9430-424F-8F71-E97A53FFEF21}" srcOrd="1" destOrd="0" presId="urn:microsoft.com/office/officeart/2005/8/layout/hierarchy2"/>
    <dgm:cxn modelId="{7EBF07FC-67C1-4E35-A38B-49F005838C6F}" type="presOf" srcId="{F2AF4DCD-C084-47FE-893B-7C8D8F2AE346}" destId="{D7CA1916-01DA-4D7B-AC5F-453A5D1CFB99}" srcOrd="1" destOrd="0" presId="urn:microsoft.com/office/officeart/2005/8/layout/hierarchy2"/>
    <dgm:cxn modelId="{124991E0-09D8-45FA-94D2-6318D39A71E7}" type="presOf" srcId="{BBC465DE-EA5E-4695-81DF-E1E4F621C693}" destId="{06142FF9-68B5-4FA7-86FD-777CA84CDF52}" srcOrd="1" destOrd="0" presId="urn:microsoft.com/office/officeart/2005/8/layout/hierarchy2"/>
    <dgm:cxn modelId="{E3AF2300-9EC4-44B4-AEBE-5C2C7C65E1E6}" srcId="{1671B4C5-0E44-4C6A-BA0B-5D1816DFE43A}" destId="{F2B7B05C-4612-4000-9679-8BF8DE9ED415}" srcOrd="1" destOrd="0" parTransId="{78CC7C70-EFA0-453E-8BFF-A19F0DC168D0}" sibTransId="{306BD330-9743-4A0F-98C8-74B67915F20D}"/>
    <dgm:cxn modelId="{8B245419-3A49-452F-8DF2-E889B39C9AEA}" type="presOf" srcId="{E2D99889-DBAC-4851-94C2-CC4416E02A05}" destId="{FB982F87-6F35-43D6-841E-51788810657E}" srcOrd="0" destOrd="0" presId="urn:microsoft.com/office/officeart/2005/8/layout/hierarchy2"/>
    <dgm:cxn modelId="{D240F807-A7D2-43A7-B873-5EBACA6B4749}" type="presOf" srcId="{EB1E61D1-62F1-4E11-B0BB-DEF045323105}" destId="{169029AB-4BED-4D6E-BF0F-D76AA25FBC10}" srcOrd="0" destOrd="0" presId="urn:microsoft.com/office/officeart/2005/8/layout/hierarchy2"/>
    <dgm:cxn modelId="{720655FD-8DCE-4A84-9888-B24355F9AE31}" type="presOf" srcId="{E8EA91C9-2DC2-4165-8193-90E2A15E7C26}" destId="{05910EE0-4759-4F03-A2A8-4ADC0C4AC3FC}" srcOrd="0" destOrd="0" presId="urn:microsoft.com/office/officeart/2005/8/layout/hierarchy2"/>
    <dgm:cxn modelId="{44E493F1-3F48-4007-B020-B6DCDF31F8D9}" type="presOf" srcId="{F2B7B05C-4612-4000-9679-8BF8DE9ED415}" destId="{B929425F-E6AF-436E-9953-49A6EBBC7280}" srcOrd="0" destOrd="0" presId="urn:microsoft.com/office/officeart/2005/8/layout/hierarchy2"/>
    <dgm:cxn modelId="{445AE2E2-FD31-4BE5-A37A-697DC6A491CD}" type="presOf" srcId="{E22CADE0-CE5D-4B38-AEDB-BBA2C2F4022C}" destId="{69E8D460-63C2-4AED-BFD1-64B4F1357159}" srcOrd="1" destOrd="0" presId="urn:microsoft.com/office/officeart/2005/8/layout/hierarchy2"/>
    <dgm:cxn modelId="{8C9DFC3D-3E4B-4155-9FCE-B74DAA0884CF}" type="presOf" srcId="{2571FD99-EB15-45CC-B007-30468036AD0C}" destId="{7C2D9550-1078-4D12-AF46-7EFE6813329C}" srcOrd="0" destOrd="0" presId="urn:microsoft.com/office/officeart/2005/8/layout/hierarchy2"/>
    <dgm:cxn modelId="{5A3F0881-31BD-4E0A-B95C-176E5D0AEAEC}" type="presOf" srcId="{282D3B29-2040-473B-A1E2-1E8168E083D4}" destId="{DCF87C6C-4673-4999-B978-B00853CE058F}" srcOrd="0" destOrd="0" presId="urn:microsoft.com/office/officeart/2005/8/layout/hierarchy2"/>
    <dgm:cxn modelId="{135F2D45-2691-4629-A672-A4CAE5BBC6FF}" srcId="{F2B7B05C-4612-4000-9679-8BF8DE9ED415}" destId="{E8EA91C9-2DC2-4165-8193-90E2A15E7C26}" srcOrd="2" destOrd="0" parTransId="{BEFF492E-EF93-4CE6-AB0F-5569A0EBDFE5}" sibTransId="{05C835B6-C8AA-4AD0-A47A-B35C8D6DADF0}"/>
    <dgm:cxn modelId="{D8920A1D-70CF-4A7A-A2EC-14809135A028}" type="presOf" srcId="{C7AE52B1-5F28-4AFA-9EAB-EE1D620A4F20}" destId="{22756E93-7911-4671-AC55-185939DCC574}" srcOrd="0" destOrd="0" presId="urn:microsoft.com/office/officeart/2005/8/layout/hierarchy2"/>
    <dgm:cxn modelId="{5EDD64C3-B323-426B-9330-CC14F87DCB06}" type="presOf" srcId="{DF2BCD4E-4465-4622-8187-380B5E076B0E}" destId="{CF86637F-48A8-4223-89B6-3B32BA739379}" srcOrd="0" destOrd="0" presId="urn:microsoft.com/office/officeart/2005/8/layout/hierarchy2"/>
    <dgm:cxn modelId="{B06BB08D-7A56-4D4C-877C-D58CA675E75E}" srcId="{F2B7B05C-4612-4000-9679-8BF8DE9ED415}" destId="{6A7F68EB-1728-4CEA-B886-DD95DA414743}" srcOrd="1" destOrd="0" parTransId="{1DD1375D-6A75-4656-B822-5CC4857A77F7}" sibTransId="{3D4F0053-5816-4155-BBC2-243C6EB05B7B}"/>
    <dgm:cxn modelId="{8E70B0B1-94F1-4DAE-A730-352B5F35C517}" type="presOf" srcId="{DF04D7C5-92CC-4F12-B20C-3D4CE31CB2BF}" destId="{7BED4291-AE65-4D64-84B1-4B65212D7EAE}" srcOrd="0" destOrd="0" presId="urn:microsoft.com/office/officeart/2005/8/layout/hierarchy2"/>
    <dgm:cxn modelId="{E54557F8-C77F-4EF7-8ADB-BAC847F0AD4C}" type="presOf" srcId="{6A7F68EB-1728-4CEA-B886-DD95DA414743}" destId="{BC5CADB1-72E9-4C66-9EAA-4EEBCE5437A5}" srcOrd="0" destOrd="0" presId="urn:microsoft.com/office/officeart/2005/8/layout/hierarchy2"/>
    <dgm:cxn modelId="{454A10DD-E6E1-4D6D-9A4F-DAEE7F263287}" type="presOf" srcId="{08B5D957-1185-4603-A023-BF343DE5D5F9}" destId="{1657EA34-91DC-4F83-AEE1-45D7B460419F}" srcOrd="0" destOrd="0" presId="urn:microsoft.com/office/officeart/2005/8/layout/hierarchy2"/>
    <dgm:cxn modelId="{C7504445-494B-41D4-9FC5-646A5A0ECBA9}" type="presOf" srcId="{2D4905A2-C2C7-449B-ACF2-99AE976E3719}" destId="{A824E9E1-3975-48DD-8BB1-16379DF79407}" srcOrd="0" destOrd="0" presId="urn:microsoft.com/office/officeart/2005/8/layout/hierarchy2"/>
    <dgm:cxn modelId="{D3A3B21B-9CE2-47E1-BE13-44C8C4A7C17A}" srcId="{4E80D6CD-3600-4FCA-A5FD-95103287A0AB}" destId="{282D3B29-2040-473B-A1E2-1E8168E083D4}" srcOrd="0" destOrd="0" parTransId="{E22CADE0-CE5D-4B38-AEDB-BBA2C2F4022C}" sibTransId="{159DAFD2-0F1E-4239-918F-689216B449FE}"/>
    <dgm:cxn modelId="{0935FF9C-A127-46A9-B8AB-E09FF9A5397D}" type="presOf" srcId="{22630DFB-2053-4F37-B377-CDC6864EE9FE}" destId="{BD9F354A-17D8-4FEE-967D-41BFBA47930D}" srcOrd="0" destOrd="0" presId="urn:microsoft.com/office/officeart/2005/8/layout/hierarchy2"/>
    <dgm:cxn modelId="{335B792D-6891-47F6-B25B-118F0DF47406}" type="presOf" srcId="{800004C2-FD74-4CEB-8254-98A9C8C483F5}" destId="{F8F04140-AE42-4413-A17F-689F174A01A6}" srcOrd="0" destOrd="0" presId="urn:microsoft.com/office/officeart/2005/8/layout/hierarchy2"/>
    <dgm:cxn modelId="{0759D09F-0350-49DF-A794-2B5B1FD2F307}" srcId="{EB1E61D1-62F1-4E11-B0BB-DEF045323105}" destId="{1671B4C5-0E44-4C6A-BA0B-5D1816DFE43A}" srcOrd="0" destOrd="0" parTransId="{FCD72CC2-EC3B-43A9-82E9-B4E356F1324C}" sibTransId="{4369036C-FA82-4FAC-8DA1-ACFDDA69A78E}"/>
    <dgm:cxn modelId="{68B1666A-F721-41C0-A7B6-C59FA9252336}" type="presOf" srcId="{8F421544-9C30-4B45-B115-7B3554F7D955}" destId="{7D70A0D2-0F7E-4C34-BF69-5AA97D384028}" srcOrd="0" destOrd="0" presId="urn:microsoft.com/office/officeart/2005/8/layout/hierarchy2"/>
    <dgm:cxn modelId="{F400BC58-B356-4894-8ADE-8AD0EA59A7A5}" type="presOf" srcId="{1DD1375D-6A75-4656-B822-5CC4857A77F7}" destId="{AC3E8667-F22F-4E23-88AF-7CB113979416}" srcOrd="1" destOrd="0" presId="urn:microsoft.com/office/officeart/2005/8/layout/hierarchy2"/>
    <dgm:cxn modelId="{8FAE4D90-8132-47EC-9B44-BBE405C6BF87}" type="presOf" srcId="{78CC7C70-EFA0-453E-8BFF-A19F0DC168D0}" destId="{F896F1E1-34BB-4CB3-BC84-55E760D1E317}" srcOrd="0" destOrd="0" presId="urn:microsoft.com/office/officeart/2005/8/layout/hierarchy2"/>
    <dgm:cxn modelId="{9F3011A8-AA3C-4E03-B064-8682802E84DD}" srcId="{1671B4C5-0E44-4C6A-BA0B-5D1816DFE43A}" destId="{8F421544-9C30-4B45-B115-7B3554F7D955}" srcOrd="2" destOrd="0" parTransId="{DF04D7C5-92CC-4F12-B20C-3D4CE31CB2BF}" sibTransId="{A62E0944-42E9-419B-A3E5-37BBBF20F543}"/>
    <dgm:cxn modelId="{68F46FFA-0D1B-4D57-83A5-DF97B0F7473C}" type="presOf" srcId="{BEFF492E-EF93-4CE6-AB0F-5569A0EBDFE5}" destId="{A8CD3429-2AC8-45F0-AC07-1494DC53449A}" srcOrd="1" destOrd="0" presId="urn:microsoft.com/office/officeart/2005/8/layout/hierarchy2"/>
    <dgm:cxn modelId="{C6C7401F-2D51-4789-9B99-A62313DE047E}" srcId="{8F421544-9C30-4B45-B115-7B3554F7D955}" destId="{3C027B34-8B16-4A62-B2D2-2667A97CE652}" srcOrd="2" destOrd="0" parTransId="{F2AF4DCD-C084-47FE-893B-7C8D8F2AE346}" sibTransId="{D03E7EE3-A4E1-4C44-8542-E9D8AA5D5F8B}"/>
    <dgm:cxn modelId="{5B84A566-4939-4019-B3CA-798222685648}" srcId="{4E80D6CD-3600-4FCA-A5FD-95103287A0AB}" destId="{E2D99889-DBAC-4851-94C2-CC4416E02A05}" srcOrd="1" destOrd="0" parTransId="{2D4905A2-C2C7-449B-ACF2-99AE976E3719}" sibTransId="{82870E0D-D105-45E5-8653-071458E4007E}"/>
    <dgm:cxn modelId="{CB0C296F-6CB1-47B8-8579-83903467D5C9}" type="presOf" srcId="{1DD1375D-6A75-4656-B822-5CC4857A77F7}" destId="{3139963E-2618-4DA0-B443-9D919459A96C}" srcOrd="0" destOrd="0" presId="urn:microsoft.com/office/officeart/2005/8/layout/hierarchy2"/>
    <dgm:cxn modelId="{1F91118B-F058-4CAD-A83E-C5BE0077CE4D}" type="presOf" srcId="{DF04D7C5-92CC-4F12-B20C-3D4CE31CB2BF}" destId="{B04FF750-324D-4CF9-9208-C6B7E361C2A7}" srcOrd="1" destOrd="0" presId="urn:microsoft.com/office/officeart/2005/8/layout/hierarchy2"/>
    <dgm:cxn modelId="{3C094CD1-9A30-4534-8341-7BF8617E26C0}" type="presOf" srcId="{4E80D6CD-3600-4FCA-A5FD-95103287A0AB}" destId="{996557FD-C474-45C3-8F35-8C7909C65C2A}" srcOrd="0" destOrd="0" presId="urn:microsoft.com/office/officeart/2005/8/layout/hierarchy2"/>
    <dgm:cxn modelId="{BB8146D2-CFAF-4E41-BE10-BE103F4A76FE}" type="presOf" srcId="{D74FD61E-5A53-4CC3-A3F7-1825ECB33C32}" destId="{EDC1E536-1CEB-4EE2-947A-9519603C969B}" srcOrd="0" destOrd="0" presId="urn:microsoft.com/office/officeart/2005/8/layout/hierarchy2"/>
    <dgm:cxn modelId="{A66D385A-D31D-4E42-8DE9-D683C2E64F29}" type="presOf" srcId="{3C027B34-8B16-4A62-B2D2-2667A97CE652}" destId="{D0C0129F-EB64-41AF-AA78-5B9932B66081}" srcOrd="0" destOrd="0" presId="urn:microsoft.com/office/officeart/2005/8/layout/hierarchy2"/>
    <dgm:cxn modelId="{784EBC24-9C56-455D-803B-CB2C2AEBE720}" srcId="{8F421544-9C30-4B45-B115-7B3554F7D955}" destId="{2571FD99-EB15-45CC-B007-30468036AD0C}" srcOrd="1" destOrd="0" parTransId="{D74FD61E-5A53-4CC3-A3F7-1825ECB33C32}" sibTransId="{B9D92493-EFE7-4B8C-8030-CF6339BDAF0F}"/>
    <dgm:cxn modelId="{69B2455B-626F-4582-817B-AA5806C9E7D9}" srcId="{8F421544-9C30-4B45-B115-7B3554F7D955}" destId="{2E6E7FA0-A2F6-4B36-BBEA-FA79DA236DDD}" srcOrd="0" destOrd="0" parTransId="{414E6A6B-F230-440A-A479-57729E23A15B}" sibTransId="{CF1682D9-7832-44C8-9E9D-35694A051DC4}"/>
    <dgm:cxn modelId="{9AFF7B86-B858-43B4-9F7B-0FF2A358C8B1}" type="presOf" srcId="{2E6E7FA0-A2F6-4B36-BBEA-FA79DA236DDD}" destId="{EAD44704-BF9E-4328-945D-967A76B7C0CA}" srcOrd="0" destOrd="0" presId="urn:microsoft.com/office/officeart/2005/8/layout/hierarchy2"/>
    <dgm:cxn modelId="{46857A9B-D9FC-4DF8-B744-2F03DF2CA4E5}" type="presOf" srcId="{D74FD61E-5A53-4CC3-A3F7-1825ECB33C32}" destId="{691C0CBA-C345-47AC-84D7-A30BD9FCD6EC}" srcOrd="1" destOrd="0" presId="urn:microsoft.com/office/officeart/2005/8/layout/hierarchy2"/>
    <dgm:cxn modelId="{399BE086-058C-4AA2-9B39-1C32D4A78BCD}" type="presOf" srcId="{E22CADE0-CE5D-4B38-AEDB-BBA2C2F4022C}" destId="{F5B8889A-7B1B-4F9D-98C5-2E2C035A89F8}" srcOrd="0" destOrd="0" presId="urn:microsoft.com/office/officeart/2005/8/layout/hierarchy2"/>
    <dgm:cxn modelId="{3751283A-809E-4959-82F5-F253E06689F1}" type="presParOf" srcId="{169029AB-4BED-4D6E-BF0F-D76AA25FBC10}" destId="{13817CD0-5956-43A3-8D29-E1C0E66C99E0}" srcOrd="0" destOrd="0" presId="urn:microsoft.com/office/officeart/2005/8/layout/hierarchy2"/>
    <dgm:cxn modelId="{498AE004-BFF6-416A-B072-C7CA052B2A99}" type="presParOf" srcId="{13817CD0-5956-43A3-8D29-E1C0E66C99E0}" destId="{8B15C89B-F956-401A-9384-4002ABF58DC6}" srcOrd="0" destOrd="0" presId="urn:microsoft.com/office/officeart/2005/8/layout/hierarchy2"/>
    <dgm:cxn modelId="{B00347A6-B351-47F5-A7B7-ED51E3D14CBD}" type="presParOf" srcId="{13817CD0-5956-43A3-8D29-E1C0E66C99E0}" destId="{D87CF0F4-291B-4BEC-A194-810053B5DD9D}" srcOrd="1" destOrd="0" presId="urn:microsoft.com/office/officeart/2005/8/layout/hierarchy2"/>
    <dgm:cxn modelId="{F8F2EE03-3ABA-49A2-AF0F-35725FDCF04E}" type="presParOf" srcId="{D87CF0F4-291B-4BEC-A194-810053B5DD9D}" destId="{BEE0C368-91B8-48D3-831F-3DDB6B38913D}" srcOrd="0" destOrd="0" presId="urn:microsoft.com/office/officeart/2005/8/layout/hierarchy2"/>
    <dgm:cxn modelId="{5E876CEC-CBBA-4953-9517-052859312DD6}" type="presParOf" srcId="{BEE0C368-91B8-48D3-831F-3DDB6B38913D}" destId="{06142FF9-68B5-4FA7-86FD-777CA84CDF52}" srcOrd="0" destOrd="0" presId="urn:microsoft.com/office/officeart/2005/8/layout/hierarchy2"/>
    <dgm:cxn modelId="{736FCC54-5D74-49C2-827C-510068E8E3AB}" type="presParOf" srcId="{D87CF0F4-291B-4BEC-A194-810053B5DD9D}" destId="{588EAFA3-E06E-4F58-9D7E-798EE3EA86F3}" srcOrd="1" destOrd="0" presId="urn:microsoft.com/office/officeart/2005/8/layout/hierarchy2"/>
    <dgm:cxn modelId="{A8048033-F288-4E9B-8D83-B0F1DB0A8373}" type="presParOf" srcId="{588EAFA3-E06E-4F58-9D7E-798EE3EA86F3}" destId="{996557FD-C474-45C3-8F35-8C7909C65C2A}" srcOrd="0" destOrd="0" presId="urn:microsoft.com/office/officeart/2005/8/layout/hierarchy2"/>
    <dgm:cxn modelId="{D613A8A6-D644-4FC1-BD87-335BEBC46B3D}" type="presParOf" srcId="{588EAFA3-E06E-4F58-9D7E-798EE3EA86F3}" destId="{CBB92B7C-8E08-4E6F-9B85-B0C76A1A1FA9}" srcOrd="1" destOrd="0" presId="urn:microsoft.com/office/officeart/2005/8/layout/hierarchy2"/>
    <dgm:cxn modelId="{B6CEA4CE-1E04-4276-B788-050E388B39C4}" type="presParOf" srcId="{CBB92B7C-8E08-4E6F-9B85-B0C76A1A1FA9}" destId="{F5B8889A-7B1B-4F9D-98C5-2E2C035A89F8}" srcOrd="0" destOrd="0" presId="urn:microsoft.com/office/officeart/2005/8/layout/hierarchy2"/>
    <dgm:cxn modelId="{ABAEB3A9-BA5E-4DFC-9528-253646214C9A}" type="presParOf" srcId="{F5B8889A-7B1B-4F9D-98C5-2E2C035A89F8}" destId="{69E8D460-63C2-4AED-BFD1-64B4F1357159}" srcOrd="0" destOrd="0" presId="urn:microsoft.com/office/officeart/2005/8/layout/hierarchy2"/>
    <dgm:cxn modelId="{BDF22992-FD14-43DD-AB9C-03C9EE9CD65A}" type="presParOf" srcId="{CBB92B7C-8E08-4E6F-9B85-B0C76A1A1FA9}" destId="{93377404-C681-4A60-A674-225A462D39B9}" srcOrd="1" destOrd="0" presId="urn:microsoft.com/office/officeart/2005/8/layout/hierarchy2"/>
    <dgm:cxn modelId="{CC90CD8B-BC7B-41B0-A2A9-349BE3A14760}" type="presParOf" srcId="{93377404-C681-4A60-A674-225A462D39B9}" destId="{DCF87C6C-4673-4999-B978-B00853CE058F}" srcOrd="0" destOrd="0" presId="urn:microsoft.com/office/officeart/2005/8/layout/hierarchy2"/>
    <dgm:cxn modelId="{D9151D2B-EC9A-416F-BA13-1291C26F48F0}" type="presParOf" srcId="{93377404-C681-4A60-A674-225A462D39B9}" destId="{14C95F02-042F-48FE-B555-CB6FBB7B3C92}" srcOrd="1" destOrd="0" presId="urn:microsoft.com/office/officeart/2005/8/layout/hierarchy2"/>
    <dgm:cxn modelId="{28F9122A-82B7-4433-88B1-BD3342062632}" type="presParOf" srcId="{CBB92B7C-8E08-4E6F-9B85-B0C76A1A1FA9}" destId="{A824E9E1-3975-48DD-8BB1-16379DF79407}" srcOrd="2" destOrd="0" presId="urn:microsoft.com/office/officeart/2005/8/layout/hierarchy2"/>
    <dgm:cxn modelId="{07EC91DC-C9A2-4DE0-8D7E-A0947CD6D67E}" type="presParOf" srcId="{A824E9E1-3975-48DD-8BB1-16379DF79407}" destId="{10AAFFCB-281E-4641-869C-8335F4987E44}" srcOrd="0" destOrd="0" presId="urn:microsoft.com/office/officeart/2005/8/layout/hierarchy2"/>
    <dgm:cxn modelId="{B5726CCD-CE73-40B1-8D03-91F9A43F08FE}" type="presParOf" srcId="{CBB92B7C-8E08-4E6F-9B85-B0C76A1A1FA9}" destId="{8D3E9237-F01A-4ACD-A0BE-9DE2F1181A61}" srcOrd="3" destOrd="0" presId="urn:microsoft.com/office/officeart/2005/8/layout/hierarchy2"/>
    <dgm:cxn modelId="{E78960A0-529F-4548-BCA9-471C3E53C9F8}" type="presParOf" srcId="{8D3E9237-F01A-4ACD-A0BE-9DE2F1181A61}" destId="{FB982F87-6F35-43D6-841E-51788810657E}" srcOrd="0" destOrd="0" presId="urn:microsoft.com/office/officeart/2005/8/layout/hierarchy2"/>
    <dgm:cxn modelId="{8BC25310-5429-4EBE-AC0E-F6773E5972CB}" type="presParOf" srcId="{8D3E9237-F01A-4ACD-A0BE-9DE2F1181A61}" destId="{BBC94F6D-4524-4DFB-8343-272A0FFAFA96}" srcOrd="1" destOrd="0" presId="urn:microsoft.com/office/officeart/2005/8/layout/hierarchy2"/>
    <dgm:cxn modelId="{DCC8C876-D53F-4A02-90DF-2CC411831FB3}" type="presParOf" srcId="{CBB92B7C-8E08-4E6F-9B85-B0C76A1A1FA9}" destId="{BD9F354A-17D8-4FEE-967D-41BFBA47930D}" srcOrd="4" destOrd="0" presId="urn:microsoft.com/office/officeart/2005/8/layout/hierarchy2"/>
    <dgm:cxn modelId="{29F4EAB6-E75D-4568-B88F-E83E5673ED76}" type="presParOf" srcId="{BD9F354A-17D8-4FEE-967D-41BFBA47930D}" destId="{FED1C230-D453-489B-B7CB-D9941E13FB65}" srcOrd="0" destOrd="0" presId="urn:microsoft.com/office/officeart/2005/8/layout/hierarchy2"/>
    <dgm:cxn modelId="{AAADC49E-3DD8-4674-9F8F-D6274A2070A8}" type="presParOf" srcId="{CBB92B7C-8E08-4E6F-9B85-B0C76A1A1FA9}" destId="{07573BEE-F2A1-4564-95AF-8085F8B87D05}" srcOrd="5" destOrd="0" presId="urn:microsoft.com/office/officeart/2005/8/layout/hierarchy2"/>
    <dgm:cxn modelId="{64F745C1-E484-4A40-B231-312A3DFDE648}" type="presParOf" srcId="{07573BEE-F2A1-4564-95AF-8085F8B87D05}" destId="{CF86637F-48A8-4223-89B6-3B32BA739379}" srcOrd="0" destOrd="0" presId="urn:microsoft.com/office/officeart/2005/8/layout/hierarchy2"/>
    <dgm:cxn modelId="{E8AD0E22-9DD4-44CE-8085-F21970C7E1FA}" type="presParOf" srcId="{07573BEE-F2A1-4564-95AF-8085F8B87D05}" destId="{5128D80B-0871-40C5-B5C6-660C192A66C9}" srcOrd="1" destOrd="0" presId="urn:microsoft.com/office/officeart/2005/8/layout/hierarchy2"/>
    <dgm:cxn modelId="{087F50C9-64DE-46AE-AB3C-0723D4295DE9}" type="presParOf" srcId="{D87CF0F4-291B-4BEC-A194-810053B5DD9D}" destId="{F896F1E1-34BB-4CB3-BC84-55E760D1E317}" srcOrd="2" destOrd="0" presId="urn:microsoft.com/office/officeart/2005/8/layout/hierarchy2"/>
    <dgm:cxn modelId="{5C80FD58-3739-42A2-97B1-B417DD66205F}" type="presParOf" srcId="{F896F1E1-34BB-4CB3-BC84-55E760D1E317}" destId="{E641A4CC-A098-4BD5-AEBA-4B63D7D7FD48}" srcOrd="0" destOrd="0" presId="urn:microsoft.com/office/officeart/2005/8/layout/hierarchy2"/>
    <dgm:cxn modelId="{164E79D0-70E4-47E5-AA18-5FA18048AFC5}" type="presParOf" srcId="{D87CF0F4-291B-4BEC-A194-810053B5DD9D}" destId="{D9F472CB-97EF-4888-B247-E51EDFC1DE34}" srcOrd="3" destOrd="0" presId="urn:microsoft.com/office/officeart/2005/8/layout/hierarchy2"/>
    <dgm:cxn modelId="{33341419-7BDA-4B1E-9B23-700141808031}" type="presParOf" srcId="{D9F472CB-97EF-4888-B247-E51EDFC1DE34}" destId="{B929425F-E6AF-436E-9953-49A6EBBC7280}" srcOrd="0" destOrd="0" presId="urn:microsoft.com/office/officeart/2005/8/layout/hierarchy2"/>
    <dgm:cxn modelId="{96180FE4-C75D-4768-BA15-35258B6C8E9E}" type="presParOf" srcId="{D9F472CB-97EF-4888-B247-E51EDFC1DE34}" destId="{7D45F88D-7789-47A3-9805-361359671DAB}" srcOrd="1" destOrd="0" presId="urn:microsoft.com/office/officeart/2005/8/layout/hierarchy2"/>
    <dgm:cxn modelId="{49AFEFC6-A37F-43E2-91A2-4D36C90E90DA}" type="presParOf" srcId="{7D45F88D-7789-47A3-9805-361359671DAB}" destId="{99B75C20-5FBE-4C0F-A09C-3CF22A1D78A0}" srcOrd="0" destOrd="0" presId="urn:microsoft.com/office/officeart/2005/8/layout/hierarchy2"/>
    <dgm:cxn modelId="{1193762D-A616-4D95-87BB-CD835B9EC48D}" type="presParOf" srcId="{99B75C20-5FBE-4C0F-A09C-3CF22A1D78A0}" destId="{941207F2-3C27-4F56-A4A8-3F8E211B3F62}" srcOrd="0" destOrd="0" presId="urn:microsoft.com/office/officeart/2005/8/layout/hierarchy2"/>
    <dgm:cxn modelId="{AB4C2B7B-66DD-4400-A900-8FFFF340EBAA}" type="presParOf" srcId="{7D45F88D-7789-47A3-9805-361359671DAB}" destId="{363F996F-7E21-4495-9866-77C58D184885}" srcOrd="1" destOrd="0" presId="urn:microsoft.com/office/officeart/2005/8/layout/hierarchy2"/>
    <dgm:cxn modelId="{687B1FD2-D1C5-4B6F-8024-1F2298BCB721}" type="presParOf" srcId="{363F996F-7E21-4495-9866-77C58D184885}" destId="{22756E93-7911-4671-AC55-185939DCC574}" srcOrd="0" destOrd="0" presId="urn:microsoft.com/office/officeart/2005/8/layout/hierarchy2"/>
    <dgm:cxn modelId="{8D2FF23B-E804-480E-8C8D-800AD4D9D64B}" type="presParOf" srcId="{363F996F-7E21-4495-9866-77C58D184885}" destId="{075A551E-AA06-464B-9329-EC01D030DEE0}" srcOrd="1" destOrd="0" presId="urn:microsoft.com/office/officeart/2005/8/layout/hierarchy2"/>
    <dgm:cxn modelId="{0FA3F05B-14D8-4266-8253-3A65F5809D41}" type="presParOf" srcId="{7D45F88D-7789-47A3-9805-361359671DAB}" destId="{3139963E-2618-4DA0-B443-9D919459A96C}" srcOrd="2" destOrd="0" presId="urn:microsoft.com/office/officeart/2005/8/layout/hierarchy2"/>
    <dgm:cxn modelId="{346032AC-E2F1-4F87-A2FB-9717D2FA9091}" type="presParOf" srcId="{3139963E-2618-4DA0-B443-9D919459A96C}" destId="{AC3E8667-F22F-4E23-88AF-7CB113979416}" srcOrd="0" destOrd="0" presId="urn:microsoft.com/office/officeart/2005/8/layout/hierarchy2"/>
    <dgm:cxn modelId="{E209289D-901A-4330-8078-495B2644D63B}" type="presParOf" srcId="{7D45F88D-7789-47A3-9805-361359671DAB}" destId="{8C8AE11C-56A5-4092-AF2F-0634E25FBE5B}" srcOrd="3" destOrd="0" presId="urn:microsoft.com/office/officeart/2005/8/layout/hierarchy2"/>
    <dgm:cxn modelId="{23B2F13F-43C7-4556-A4FB-E46C2E431610}" type="presParOf" srcId="{8C8AE11C-56A5-4092-AF2F-0634E25FBE5B}" destId="{BC5CADB1-72E9-4C66-9EAA-4EEBCE5437A5}" srcOrd="0" destOrd="0" presId="urn:microsoft.com/office/officeart/2005/8/layout/hierarchy2"/>
    <dgm:cxn modelId="{493BD6D6-9358-42E0-9912-977304DBA98D}" type="presParOf" srcId="{8C8AE11C-56A5-4092-AF2F-0634E25FBE5B}" destId="{23BC1AD1-8DC2-4A9D-869A-0CC3335282AC}" srcOrd="1" destOrd="0" presId="urn:microsoft.com/office/officeart/2005/8/layout/hierarchy2"/>
    <dgm:cxn modelId="{FAF371F7-40C4-4C99-A57C-BA023D9FFCD1}" type="presParOf" srcId="{7D45F88D-7789-47A3-9805-361359671DAB}" destId="{8A443024-9F07-4B88-9851-4F99D3D22250}" srcOrd="4" destOrd="0" presId="urn:microsoft.com/office/officeart/2005/8/layout/hierarchy2"/>
    <dgm:cxn modelId="{EB551F2C-C238-400E-9D00-2302E2503174}" type="presParOf" srcId="{8A443024-9F07-4B88-9851-4F99D3D22250}" destId="{A8CD3429-2AC8-45F0-AC07-1494DC53449A}" srcOrd="0" destOrd="0" presId="urn:microsoft.com/office/officeart/2005/8/layout/hierarchy2"/>
    <dgm:cxn modelId="{2B5B83A5-209D-46CB-B7B6-68DD1220B4BA}" type="presParOf" srcId="{7D45F88D-7789-47A3-9805-361359671DAB}" destId="{C193B243-6C7A-452F-99E1-6F96BF77CB78}" srcOrd="5" destOrd="0" presId="urn:microsoft.com/office/officeart/2005/8/layout/hierarchy2"/>
    <dgm:cxn modelId="{6ECA9FEE-FDFD-490D-9F0F-1654EB6AAE16}" type="presParOf" srcId="{C193B243-6C7A-452F-99E1-6F96BF77CB78}" destId="{05910EE0-4759-4F03-A2A8-4ADC0C4AC3FC}" srcOrd="0" destOrd="0" presId="urn:microsoft.com/office/officeart/2005/8/layout/hierarchy2"/>
    <dgm:cxn modelId="{B125CA2A-9211-431C-AB4E-D917EA155C44}" type="presParOf" srcId="{C193B243-6C7A-452F-99E1-6F96BF77CB78}" destId="{236FD5A9-962B-49B7-9501-31400990E938}" srcOrd="1" destOrd="0" presId="urn:microsoft.com/office/officeart/2005/8/layout/hierarchy2"/>
    <dgm:cxn modelId="{ED45989D-2A9B-4689-B216-4FA111099A77}" type="presParOf" srcId="{7D45F88D-7789-47A3-9805-361359671DAB}" destId="{F8F04140-AE42-4413-A17F-689F174A01A6}" srcOrd="6" destOrd="0" presId="urn:microsoft.com/office/officeart/2005/8/layout/hierarchy2"/>
    <dgm:cxn modelId="{23D9F778-C8C7-4333-8501-0A541893AB75}" type="presParOf" srcId="{F8F04140-AE42-4413-A17F-689F174A01A6}" destId="{DB87CE5A-9430-424F-8F71-E97A53FFEF21}" srcOrd="0" destOrd="0" presId="urn:microsoft.com/office/officeart/2005/8/layout/hierarchy2"/>
    <dgm:cxn modelId="{C8BDF6C1-F881-4714-A466-11BDB8CD079D}" type="presParOf" srcId="{7D45F88D-7789-47A3-9805-361359671DAB}" destId="{928FCA23-6695-4ED6-9484-FECC21C3855D}" srcOrd="7" destOrd="0" presId="urn:microsoft.com/office/officeart/2005/8/layout/hierarchy2"/>
    <dgm:cxn modelId="{5FE2F667-C4BA-4673-8894-DF9155467CB7}" type="presParOf" srcId="{928FCA23-6695-4ED6-9484-FECC21C3855D}" destId="{1657EA34-91DC-4F83-AEE1-45D7B460419F}" srcOrd="0" destOrd="0" presId="urn:microsoft.com/office/officeart/2005/8/layout/hierarchy2"/>
    <dgm:cxn modelId="{2AA60930-E84B-45B4-8507-EE9632289D88}" type="presParOf" srcId="{928FCA23-6695-4ED6-9484-FECC21C3855D}" destId="{96013CA6-DAAC-4864-B56E-6B8A202BFCA2}" srcOrd="1" destOrd="0" presId="urn:microsoft.com/office/officeart/2005/8/layout/hierarchy2"/>
    <dgm:cxn modelId="{D793F825-6655-4096-8AE9-EFC1A7F758E7}" type="presParOf" srcId="{D87CF0F4-291B-4BEC-A194-810053B5DD9D}" destId="{7BED4291-AE65-4D64-84B1-4B65212D7EAE}" srcOrd="4" destOrd="0" presId="urn:microsoft.com/office/officeart/2005/8/layout/hierarchy2"/>
    <dgm:cxn modelId="{D7F763B7-0AD0-41BB-9726-B9C24BF5F4B7}" type="presParOf" srcId="{7BED4291-AE65-4D64-84B1-4B65212D7EAE}" destId="{B04FF750-324D-4CF9-9208-C6B7E361C2A7}" srcOrd="0" destOrd="0" presId="urn:microsoft.com/office/officeart/2005/8/layout/hierarchy2"/>
    <dgm:cxn modelId="{269C209F-236F-40FE-9F3C-48D118ED11E7}" type="presParOf" srcId="{D87CF0F4-291B-4BEC-A194-810053B5DD9D}" destId="{DA379B7E-5F4A-4EB0-84B1-98A2BDEA78E9}" srcOrd="5" destOrd="0" presId="urn:microsoft.com/office/officeart/2005/8/layout/hierarchy2"/>
    <dgm:cxn modelId="{38D09C9A-9065-42A8-BD66-B07951BF8F5F}" type="presParOf" srcId="{DA379B7E-5F4A-4EB0-84B1-98A2BDEA78E9}" destId="{7D70A0D2-0F7E-4C34-BF69-5AA97D384028}" srcOrd="0" destOrd="0" presId="urn:microsoft.com/office/officeart/2005/8/layout/hierarchy2"/>
    <dgm:cxn modelId="{1FC47E84-CEDA-4327-BCD5-12A31287D640}" type="presParOf" srcId="{DA379B7E-5F4A-4EB0-84B1-98A2BDEA78E9}" destId="{F77E0828-22BC-4AF4-B2A9-5AFA11434967}" srcOrd="1" destOrd="0" presId="urn:microsoft.com/office/officeart/2005/8/layout/hierarchy2"/>
    <dgm:cxn modelId="{4E354A35-64B4-47E7-A396-CA486F1E6B59}" type="presParOf" srcId="{F77E0828-22BC-4AF4-B2A9-5AFA11434967}" destId="{A201100E-F4C3-4258-890B-09E0A1098DAA}" srcOrd="0" destOrd="0" presId="urn:microsoft.com/office/officeart/2005/8/layout/hierarchy2"/>
    <dgm:cxn modelId="{153532C1-CB5D-4437-88C0-539D5A4AE247}" type="presParOf" srcId="{A201100E-F4C3-4258-890B-09E0A1098DAA}" destId="{641D550F-0486-4C1E-98FD-5A18E9C24D5D}" srcOrd="0" destOrd="0" presId="urn:microsoft.com/office/officeart/2005/8/layout/hierarchy2"/>
    <dgm:cxn modelId="{1C9CDF6A-09BA-4F69-B6FD-5D965962BBF9}" type="presParOf" srcId="{F77E0828-22BC-4AF4-B2A9-5AFA11434967}" destId="{9C235830-467A-49CF-9B67-C66509F7FCE7}" srcOrd="1" destOrd="0" presId="urn:microsoft.com/office/officeart/2005/8/layout/hierarchy2"/>
    <dgm:cxn modelId="{A9B5F2E0-5AAF-4F7E-9505-BDAE67B94EA5}" type="presParOf" srcId="{9C235830-467A-49CF-9B67-C66509F7FCE7}" destId="{EAD44704-BF9E-4328-945D-967A76B7C0CA}" srcOrd="0" destOrd="0" presId="urn:microsoft.com/office/officeart/2005/8/layout/hierarchy2"/>
    <dgm:cxn modelId="{0041FA49-2F68-4389-B67A-4B1CB4687B65}" type="presParOf" srcId="{9C235830-467A-49CF-9B67-C66509F7FCE7}" destId="{97393DDA-11D2-4F94-9078-FD68672F07C7}" srcOrd="1" destOrd="0" presId="urn:microsoft.com/office/officeart/2005/8/layout/hierarchy2"/>
    <dgm:cxn modelId="{7642EE93-1F9B-4032-A681-E0F370AD40AB}" type="presParOf" srcId="{F77E0828-22BC-4AF4-B2A9-5AFA11434967}" destId="{EDC1E536-1CEB-4EE2-947A-9519603C969B}" srcOrd="2" destOrd="0" presId="urn:microsoft.com/office/officeart/2005/8/layout/hierarchy2"/>
    <dgm:cxn modelId="{B5CB1985-96CC-440E-A4EA-7291B5AA8C4B}" type="presParOf" srcId="{EDC1E536-1CEB-4EE2-947A-9519603C969B}" destId="{691C0CBA-C345-47AC-84D7-A30BD9FCD6EC}" srcOrd="0" destOrd="0" presId="urn:microsoft.com/office/officeart/2005/8/layout/hierarchy2"/>
    <dgm:cxn modelId="{672690F3-E4D5-4BFB-BAC2-992841DA66DC}" type="presParOf" srcId="{F77E0828-22BC-4AF4-B2A9-5AFA11434967}" destId="{C32350E2-E236-451C-8261-042E9AE2B6EE}" srcOrd="3" destOrd="0" presId="urn:microsoft.com/office/officeart/2005/8/layout/hierarchy2"/>
    <dgm:cxn modelId="{838A02C8-05C6-4398-99C3-24D6D41BBE51}" type="presParOf" srcId="{C32350E2-E236-451C-8261-042E9AE2B6EE}" destId="{7C2D9550-1078-4D12-AF46-7EFE6813329C}" srcOrd="0" destOrd="0" presId="urn:microsoft.com/office/officeart/2005/8/layout/hierarchy2"/>
    <dgm:cxn modelId="{96DB41A3-AF6B-4E4C-9AA7-DAA340B016FA}" type="presParOf" srcId="{C32350E2-E236-451C-8261-042E9AE2B6EE}" destId="{DA8BEEEB-A469-4AD0-B7B8-B8695DD9FC61}" srcOrd="1" destOrd="0" presId="urn:microsoft.com/office/officeart/2005/8/layout/hierarchy2"/>
    <dgm:cxn modelId="{C024898A-1BD4-4D08-B8EE-D4CF79255985}" type="presParOf" srcId="{F77E0828-22BC-4AF4-B2A9-5AFA11434967}" destId="{48762D83-4065-45E8-811D-B780F2303ACA}" srcOrd="4" destOrd="0" presId="urn:microsoft.com/office/officeart/2005/8/layout/hierarchy2"/>
    <dgm:cxn modelId="{377B1147-91F4-4005-A28A-C4A118DC9888}" type="presParOf" srcId="{48762D83-4065-45E8-811D-B780F2303ACA}" destId="{D7CA1916-01DA-4D7B-AC5F-453A5D1CFB99}" srcOrd="0" destOrd="0" presId="urn:microsoft.com/office/officeart/2005/8/layout/hierarchy2"/>
    <dgm:cxn modelId="{2DF07512-C20A-4147-BCF8-26C449CE1422}" type="presParOf" srcId="{F77E0828-22BC-4AF4-B2A9-5AFA11434967}" destId="{BE174DBF-94C7-4633-AB7D-28BA0E4D98E0}" srcOrd="5" destOrd="0" presId="urn:microsoft.com/office/officeart/2005/8/layout/hierarchy2"/>
    <dgm:cxn modelId="{3066D435-60B1-468E-A417-CB2369DA25B8}" type="presParOf" srcId="{BE174DBF-94C7-4633-AB7D-28BA0E4D98E0}" destId="{D0C0129F-EB64-41AF-AA78-5B9932B66081}" srcOrd="0" destOrd="0" presId="urn:microsoft.com/office/officeart/2005/8/layout/hierarchy2"/>
    <dgm:cxn modelId="{8D21BFF8-DF07-4113-BEC0-0652D88ADB10}" type="presParOf" srcId="{BE174DBF-94C7-4633-AB7D-28BA0E4D98E0}" destId="{9D9EB194-0847-41C8-8E98-46AD3B8CA484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B1E61D1-62F1-4E11-B0BB-DEF045323105}" type="doc">
      <dgm:prSet loTypeId="urn:microsoft.com/office/officeart/2005/8/layout/hierarchy2" loCatId="hierarchy" qsTypeId="urn:microsoft.com/office/officeart/2005/8/quickstyle/simple5" qsCatId="simple" csTypeId="urn:microsoft.com/office/officeart/2005/8/colors/colorful4" csCatId="colorful" phldr="1"/>
      <dgm:spPr/>
      <dgm:t>
        <a:bodyPr/>
        <a:lstStyle/>
        <a:p>
          <a:endParaRPr lang="es-AR"/>
        </a:p>
      </dgm:t>
    </dgm:pt>
    <dgm:pt modelId="{1671B4C5-0E44-4C6A-BA0B-5D1816DFE43A}">
      <dgm:prSet phldrT="[Text]"/>
      <dgm:spPr/>
      <dgm:t>
        <a:bodyPr/>
        <a:lstStyle/>
        <a:p>
          <a:r>
            <a:rPr lang="es-AR"/>
            <a:t>LDAP Domain</a:t>
          </a:r>
        </a:p>
      </dgm:t>
    </dgm:pt>
    <dgm:pt modelId="{FCD72CC2-EC3B-43A9-82E9-B4E356F1324C}" type="parTrans" cxnId="{0759D09F-0350-49DF-A794-2B5B1FD2F307}">
      <dgm:prSet/>
      <dgm:spPr/>
      <dgm:t>
        <a:bodyPr/>
        <a:lstStyle/>
        <a:p>
          <a:endParaRPr lang="es-AR"/>
        </a:p>
      </dgm:t>
    </dgm:pt>
    <dgm:pt modelId="{4369036C-FA82-4FAC-8DA1-ACFDDA69A78E}" type="sibTrans" cxnId="{0759D09F-0350-49DF-A794-2B5B1FD2F307}">
      <dgm:prSet/>
      <dgm:spPr/>
      <dgm:t>
        <a:bodyPr/>
        <a:lstStyle/>
        <a:p>
          <a:endParaRPr lang="es-AR"/>
        </a:p>
      </dgm:t>
    </dgm:pt>
    <dgm:pt modelId="{4E80D6CD-3600-4FCA-A5FD-95103287A0AB}">
      <dgm:prSet phldrT="[Text]"/>
      <dgm:spPr/>
      <dgm:t>
        <a:bodyPr/>
        <a:lstStyle/>
        <a:p>
          <a:r>
            <a:rPr lang="es-AR"/>
            <a:t>Apps</a:t>
          </a:r>
        </a:p>
      </dgm:t>
    </dgm:pt>
    <dgm:pt modelId="{BBC465DE-EA5E-4695-81DF-E1E4F621C693}" type="parTrans" cxnId="{F72CFDA9-B012-42B5-9AEE-2E2AF8025115}">
      <dgm:prSet/>
      <dgm:spPr/>
      <dgm:t>
        <a:bodyPr/>
        <a:lstStyle/>
        <a:p>
          <a:endParaRPr lang="es-AR"/>
        </a:p>
      </dgm:t>
    </dgm:pt>
    <dgm:pt modelId="{6CC2D89B-53A5-40AE-A6B9-B50A6B8AF18B}" type="sibTrans" cxnId="{F72CFDA9-B012-42B5-9AEE-2E2AF8025115}">
      <dgm:prSet/>
      <dgm:spPr/>
      <dgm:t>
        <a:bodyPr/>
        <a:lstStyle/>
        <a:p>
          <a:endParaRPr lang="es-AR"/>
        </a:p>
      </dgm:t>
    </dgm:pt>
    <dgm:pt modelId="{282D3B29-2040-473B-A1E2-1E8168E083D4}">
      <dgm:prSet phldrT="[Text]"/>
      <dgm:spPr/>
      <dgm:t>
        <a:bodyPr/>
        <a:lstStyle/>
        <a:p>
          <a:r>
            <a:rPr lang="es-AR"/>
            <a:t>App1</a:t>
          </a:r>
        </a:p>
      </dgm:t>
    </dgm:pt>
    <dgm:pt modelId="{E22CADE0-CE5D-4B38-AEDB-BBA2C2F4022C}" type="parTrans" cxnId="{D3A3B21B-9CE2-47E1-BE13-44C8C4A7C17A}">
      <dgm:prSet/>
      <dgm:spPr/>
      <dgm:t>
        <a:bodyPr/>
        <a:lstStyle/>
        <a:p>
          <a:endParaRPr lang="es-AR"/>
        </a:p>
      </dgm:t>
    </dgm:pt>
    <dgm:pt modelId="{159DAFD2-0F1E-4239-918F-689216B449FE}" type="sibTrans" cxnId="{D3A3B21B-9CE2-47E1-BE13-44C8C4A7C17A}">
      <dgm:prSet/>
      <dgm:spPr/>
      <dgm:t>
        <a:bodyPr/>
        <a:lstStyle/>
        <a:p>
          <a:endParaRPr lang="es-AR"/>
        </a:p>
      </dgm:t>
    </dgm:pt>
    <dgm:pt modelId="{E2D99889-DBAC-4851-94C2-CC4416E02A05}">
      <dgm:prSet phldrT="[Text]"/>
      <dgm:spPr/>
      <dgm:t>
        <a:bodyPr/>
        <a:lstStyle/>
        <a:p>
          <a:r>
            <a:rPr lang="es-AR"/>
            <a:t>App2</a:t>
          </a:r>
        </a:p>
      </dgm:t>
    </dgm:pt>
    <dgm:pt modelId="{2D4905A2-C2C7-449B-ACF2-99AE976E3719}" type="parTrans" cxnId="{5B84A566-4939-4019-B3CA-798222685648}">
      <dgm:prSet/>
      <dgm:spPr/>
      <dgm:t>
        <a:bodyPr/>
        <a:lstStyle/>
        <a:p>
          <a:endParaRPr lang="es-AR"/>
        </a:p>
      </dgm:t>
    </dgm:pt>
    <dgm:pt modelId="{82870E0D-D105-45E5-8653-071458E4007E}" type="sibTrans" cxnId="{5B84A566-4939-4019-B3CA-798222685648}">
      <dgm:prSet/>
      <dgm:spPr/>
      <dgm:t>
        <a:bodyPr/>
        <a:lstStyle/>
        <a:p>
          <a:endParaRPr lang="es-AR"/>
        </a:p>
      </dgm:t>
    </dgm:pt>
    <dgm:pt modelId="{8F421544-9C30-4B45-B115-7B3554F7D955}">
      <dgm:prSet phldrT="[Text]"/>
      <dgm:spPr/>
      <dgm:t>
        <a:bodyPr/>
        <a:lstStyle/>
        <a:p>
          <a:r>
            <a:rPr lang="es-AR"/>
            <a:t>Title</a:t>
          </a:r>
        </a:p>
      </dgm:t>
    </dgm:pt>
    <dgm:pt modelId="{DF04D7C5-92CC-4F12-B20C-3D4CE31CB2BF}" type="parTrans" cxnId="{9F3011A8-AA3C-4E03-B064-8682802E84DD}">
      <dgm:prSet/>
      <dgm:spPr/>
      <dgm:t>
        <a:bodyPr/>
        <a:lstStyle/>
        <a:p>
          <a:endParaRPr lang="es-AR"/>
        </a:p>
      </dgm:t>
    </dgm:pt>
    <dgm:pt modelId="{A62E0944-42E9-419B-A3E5-37BBBF20F543}" type="sibTrans" cxnId="{9F3011A8-AA3C-4E03-B064-8682802E84DD}">
      <dgm:prSet/>
      <dgm:spPr/>
      <dgm:t>
        <a:bodyPr/>
        <a:lstStyle/>
        <a:p>
          <a:endParaRPr lang="es-AR"/>
        </a:p>
      </dgm:t>
    </dgm:pt>
    <dgm:pt modelId="{B70C4D95-2125-45D3-8DAE-A6B21BFB2CEA}">
      <dgm:prSet phldrT="[Text]"/>
      <dgm:spPr/>
      <dgm:t>
        <a:bodyPr/>
        <a:lstStyle/>
        <a:p>
          <a:r>
            <a:rPr lang="es-AR"/>
            <a:t>Admin</a:t>
          </a:r>
        </a:p>
      </dgm:t>
    </dgm:pt>
    <dgm:pt modelId="{D4261C88-1C31-45F5-9DC7-7292802CC2CF}" type="parTrans" cxnId="{5015B477-0292-4B19-B239-26FB3DBA7900}">
      <dgm:prSet/>
      <dgm:spPr/>
      <dgm:t>
        <a:bodyPr/>
        <a:lstStyle/>
        <a:p>
          <a:endParaRPr lang="es-AR"/>
        </a:p>
      </dgm:t>
    </dgm:pt>
    <dgm:pt modelId="{BB7FD429-50DE-4D86-9638-271A93ED1FFF}" type="sibTrans" cxnId="{5015B477-0292-4B19-B239-26FB3DBA7900}">
      <dgm:prSet/>
      <dgm:spPr/>
      <dgm:t>
        <a:bodyPr/>
        <a:lstStyle/>
        <a:p>
          <a:endParaRPr lang="es-AR"/>
        </a:p>
      </dgm:t>
    </dgm:pt>
    <dgm:pt modelId="{BBE8218E-3AB2-410A-97F1-BB23A0584497}">
      <dgm:prSet phldrT="[Text]"/>
      <dgm:spPr/>
      <dgm:t>
        <a:bodyPr/>
        <a:lstStyle/>
        <a:p>
          <a:r>
            <a:rPr lang="es-AR"/>
            <a:t>Read</a:t>
          </a:r>
        </a:p>
      </dgm:t>
    </dgm:pt>
    <dgm:pt modelId="{4A00A3ED-34DF-43CD-A3BB-5BE885ABCA92}" type="parTrans" cxnId="{F39D5927-BCB8-41E1-A25B-CCF915BC7C20}">
      <dgm:prSet/>
      <dgm:spPr/>
      <dgm:t>
        <a:bodyPr/>
        <a:lstStyle/>
        <a:p>
          <a:endParaRPr lang="es-AR"/>
        </a:p>
      </dgm:t>
    </dgm:pt>
    <dgm:pt modelId="{9700DEFF-104E-4B1D-BC08-0362FF4688F3}" type="sibTrans" cxnId="{F39D5927-BCB8-41E1-A25B-CCF915BC7C20}">
      <dgm:prSet/>
      <dgm:spPr/>
      <dgm:t>
        <a:bodyPr/>
        <a:lstStyle/>
        <a:p>
          <a:endParaRPr lang="es-AR"/>
        </a:p>
      </dgm:t>
    </dgm:pt>
    <dgm:pt modelId="{B11776F8-52D8-4075-897C-3CC417EC7733}">
      <dgm:prSet phldrT="[Text]"/>
      <dgm:spPr/>
      <dgm:t>
        <a:bodyPr/>
        <a:lstStyle/>
        <a:p>
          <a:r>
            <a:rPr lang="es-AR"/>
            <a:t>Modetator</a:t>
          </a:r>
        </a:p>
      </dgm:t>
    </dgm:pt>
    <dgm:pt modelId="{409C8269-E28B-4661-8D4F-641314AE0799}" type="parTrans" cxnId="{0501EA2F-A6EC-498F-99AB-3A8524A5A5E1}">
      <dgm:prSet/>
      <dgm:spPr/>
      <dgm:t>
        <a:bodyPr/>
        <a:lstStyle/>
        <a:p>
          <a:endParaRPr lang="es-AR"/>
        </a:p>
      </dgm:t>
    </dgm:pt>
    <dgm:pt modelId="{50F56996-2FBB-4F57-A141-3C8E05944D25}" type="sibTrans" cxnId="{0501EA2F-A6EC-498F-99AB-3A8524A5A5E1}">
      <dgm:prSet/>
      <dgm:spPr/>
      <dgm:t>
        <a:bodyPr/>
        <a:lstStyle/>
        <a:p>
          <a:endParaRPr lang="es-AR"/>
        </a:p>
      </dgm:t>
    </dgm:pt>
    <dgm:pt modelId="{D65C9D05-5A23-46ED-80AC-83D014BBB041}">
      <dgm:prSet phldrT="[Text]"/>
      <dgm:spPr/>
      <dgm:t>
        <a:bodyPr/>
        <a:lstStyle/>
        <a:p>
          <a:r>
            <a:rPr lang="es-AR"/>
            <a:t>Cordinator</a:t>
          </a:r>
        </a:p>
      </dgm:t>
    </dgm:pt>
    <dgm:pt modelId="{8D443712-30ED-4D2F-AB9F-058E1BFCCDE3}" type="parTrans" cxnId="{8D50C039-C8B9-4AEA-86C4-0EB417E86345}">
      <dgm:prSet/>
      <dgm:spPr/>
      <dgm:t>
        <a:bodyPr/>
        <a:lstStyle/>
        <a:p>
          <a:endParaRPr lang="es-AR"/>
        </a:p>
      </dgm:t>
    </dgm:pt>
    <dgm:pt modelId="{89906767-F595-43BC-AAD9-7A44CAB5BE0D}" type="sibTrans" cxnId="{8D50C039-C8B9-4AEA-86C4-0EB417E86345}">
      <dgm:prSet/>
      <dgm:spPr/>
      <dgm:t>
        <a:bodyPr/>
        <a:lstStyle/>
        <a:p>
          <a:endParaRPr lang="es-AR"/>
        </a:p>
      </dgm:t>
    </dgm:pt>
    <dgm:pt modelId="{983E4D93-8A6C-49DD-91DC-E1F2855E59F9}">
      <dgm:prSet phldrT="[Text]"/>
      <dgm:spPr/>
      <dgm:t>
        <a:bodyPr/>
        <a:lstStyle/>
        <a:p>
          <a:r>
            <a:rPr lang="es-AR"/>
            <a:t>Admin</a:t>
          </a:r>
        </a:p>
      </dgm:t>
    </dgm:pt>
    <dgm:pt modelId="{51207153-A575-4B1B-8926-56C947E2770B}" type="parTrans" cxnId="{E1521D07-7CB3-45A1-A08C-2CC4D7F6CEE7}">
      <dgm:prSet/>
      <dgm:spPr/>
      <dgm:t>
        <a:bodyPr/>
        <a:lstStyle/>
        <a:p>
          <a:endParaRPr lang="es-AR"/>
        </a:p>
      </dgm:t>
    </dgm:pt>
    <dgm:pt modelId="{CA0F9973-F84F-481A-BF76-5D081F899BD4}" type="sibTrans" cxnId="{E1521D07-7CB3-45A1-A08C-2CC4D7F6CEE7}">
      <dgm:prSet/>
      <dgm:spPr/>
      <dgm:t>
        <a:bodyPr/>
        <a:lstStyle/>
        <a:p>
          <a:endParaRPr lang="es-AR"/>
        </a:p>
      </dgm:t>
    </dgm:pt>
    <dgm:pt modelId="{E016CF65-EB69-4639-B16E-2FC8D7006F13}">
      <dgm:prSet phldrT="[Text]"/>
      <dgm:spPr/>
      <dgm:t>
        <a:bodyPr/>
        <a:lstStyle/>
        <a:p>
          <a:r>
            <a:rPr lang="es-AR"/>
            <a:t>Read</a:t>
          </a:r>
        </a:p>
      </dgm:t>
    </dgm:pt>
    <dgm:pt modelId="{9573FCCF-270A-42B0-BBFA-E49E26D4ED4A}" type="parTrans" cxnId="{2B5CFB38-058C-4902-8705-3FD1D454C16C}">
      <dgm:prSet/>
      <dgm:spPr/>
      <dgm:t>
        <a:bodyPr/>
        <a:lstStyle/>
        <a:p>
          <a:endParaRPr lang="es-AR"/>
        </a:p>
      </dgm:t>
    </dgm:pt>
    <dgm:pt modelId="{A5DEFCA2-8702-4EE9-B585-56B27F56C223}" type="sibTrans" cxnId="{2B5CFB38-058C-4902-8705-3FD1D454C16C}">
      <dgm:prSet/>
      <dgm:spPr/>
      <dgm:t>
        <a:bodyPr/>
        <a:lstStyle/>
        <a:p>
          <a:endParaRPr lang="es-AR"/>
        </a:p>
      </dgm:t>
    </dgm:pt>
    <dgm:pt modelId="{13BB8D8F-6006-4993-B4B1-41B25A0393E4}">
      <dgm:prSet phldrT="[Text]"/>
      <dgm:spPr/>
      <dgm:t>
        <a:bodyPr/>
        <a:lstStyle/>
        <a:p>
          <a:r>
            <a:rPr lang="es-AR"/>
            <a:t>CEO</a:t>
          </a:r>
        </a:p>
      </dgm:t>
    </dgm:pt>
    <dgm:pt modelId="{B169ED0D-8AD9-4096-9491-5A90FEA7509D}" type="parTrans" cxnId="{B3437D60-6988-4442-803E-991D7F335504}">
      <dgm:prSet/>
      <dgm:spPr/>
      <dgm:t>
        <a:bodyPr/>
        <a:lstStyle/>
        <a:p>
          <a:endParaRPr lang="es-AR"/>
        </a:p>
      </dgm:t>
    </dgm:pt>
    <dgm:pt modelId="{127699E9-59C4-4FB9-919B-FA1C32BBF230}" type="sibTrans" cxnId="{B3437D60-6988-4442-803E-991D7F335504}">
      <dgm:prSet/>
      <dgm:spPr/>
      <dgm:t>
        <a:bodyPr/>
        <a:lstStyle/>
        <a:p>
          <a:endParaRPr lang="es-AR"/>
        </a:p>
      </dgm:t>
    </dgm:pt>
    <dgm:pt modelId="{066847C3-9961-4F9B-95B5-4ACCFE2983EE}">
      <dgm:prSet phldrT="[Text]"/>
      <dgm:spPr/>
      <dgm:t>
        <a:bodyPr/>
        <a:lstStyle/>
        <a:p>
          <a:r>
            <a:rPr lang="es-AR"/>
            <a:t>Lider</a:t>
          </a:r>
        </a:p>
      </dgm:t>
    </dgm:pt>
    <dgm:pt modelId="{C62A26CF-7A9F-4F4F-930C-B0DA5B1343E3}" type="parTrans" cxnId="{2B63FF82-6475-488F-9D30-9B7EAE5E1392}">
      <dgm:prSet/>
      <dgm:spPr/>
      <dgm:t>
        <a:bodyPr/>
        <a:lstStyle/>
        <a:p>
          <a:endParaRPr lang="es-AR"/>
        </a:p>
      </dgm:t>
    </dgm:pt>
    <dgm:pt modelId="{4F5D0ACB-9BB5-4BB8-ADD1-2E3DA3DF81B4}" type="sibTrans" cxnId="{2B63FF82-6475-488F-9D30-9B7EAE5E1392}">
      <dgm:prSet/>
      <dgm:spPr/>
      <dgm:t>
        <a:bodyPr/>
        <a:lstStyle/>
        <a:p>
          <a:endParaRPr lang="es-AR"/>
        </a:p>
      </dgm:t>
    </dgm:pt>
    <dgm:pt modelId="{787B8C8F-F759-4061-A4F8-2387580E37B3}">
      <dgm:prSet phldrT="[Text]"/>
      <dgm:spPr/>
      <dgm:t>
        <a:bodyPr/>
        <a:lstStyle/>
        <a:p>
          <a:r>
            <a:rPr lang="es-AR"/>
            <a:t>Analist</a:t>
          </a:r>
        </a:p>
      </dgm:t>
    </dgm:pt>
    <dgm:pt modelId="{210EBAAB-D2C3-4D05-A961-DA4FEFC8C644}" type="parTrans" cxnId="{EE3A6D67-4056-4112-9336-BDED9009BB6D}">
      <dgm:prSet/>
      <dgm:spPr/>
      <dgm:t>
        <a:bodyPr/>
        <a:lstStyle/>
        <a:p>
          <a:endParaRPr lang="es-AR"/>
        </a:p>
      </dgm:t>
    </dgm:pt>
    <dgm:pt modelId="{3C9D89F7-90CC-4678-9CD6-1F9FAB6BFA0D}" type="sibTrans" cxnId="{EE3A6D67-4056-4112-9336-BDED9009BB6D}">
      <dgm:prSet/>
      <dgm:spPr/>
      <dgm:t>
        <a:bodyPr/>
        <a:lstStyle/>
        <a:p>
          <a:endParaRPr lang="es-AR"/>
        </a:p>
      </dgm:t>
    </dgm:pt>
    <dgm:pt modelId="{2A2DD10E-CB29-4C73-9DCC-92CC0D6410D6}">
      <dgm:prSet phldrT="[Text]"/>
      <dgm:spPr/>
      <dgm:t>
        <a:bodyPr/>
        <a:lstStyle/>
        <a:p>
          <a:r>
            <a:rPr lang="es-AR"/>
            <a:t>Core</a:t>
          </a:r>
        </a:p>
      </dgm:t>
    </dgm:pt>
    <dgm:pt modelId="{01336130-D7B2-4AAB-9D45-92CABD1D7E41}" type="parTrans" cxnId="{09ED4715-1EA0-4B96-A8B9-B7824651DD05}">
      <dgm:prSet/>
      <dgm:spPr/>
      <dgm:t>
        <a:bodyPr/>
        <a:lstStyle/>
        <a:p>
          <a:endParaRPr lang="es-AR"/>
        </a:p>
      </dgm:t>
    </dgm:pt>
    <dgm:pt modelId="{EBCAE523-D1E3-4044-B534-9CBFD58DD3D4}" type="sibTrans" cxnId="{09ED4715-1EA0-4B96-A8B9-B7824651DD05}">
      <dgm:prSet/>
      <dgm:spPr/>
      <dgm:t>
        <a:bodyPr/>
        <a:lstStyle/>
        <a:p>
          <a:endParaRPr lang="es-AR"/>
        </a:p>
      </dgm:t>
    </dgm:pt>
    <dgm:pt modelId="{2B6EB9D1-D00B-4D40-8934-838FDC67E49C}">
      <dgm:prSet phldrT="[Text]"/>
      <dgm:spPr/>
      <dgm:t>
        <a:bodyPr/>
        <a:lstStyle/>
        <a:p>
          <a:r>
            <a:rPr lang="es-AR"/>
            <a:t>BR</a:t>
          </a:r>
        </a:p>
      </dgm:t>
    </dgm:pt>
    <dgm:pt modelId="{C1C9207D-3615-4A58-B4D2-FA0B8EC0C126}" type="parTrans" cxnId="{87FAB733-0E71-45F4-A681-746C53B4CE7A}">
      <dgm:prSet/>
      <dgm:spPr/>
      <dgm:t>
        <a:bodyPr/>
        <a:lstStyle/>
        <a:p>
          <a:endParaRPr lang="es-AR"/>
        </a:p>
      </dgm:t>
    </dgm:pt>
    <dgm:pt modelId="{70FA08C8-FDFC-4BD6-8A71-9C5BD4540755}" type="sibTrans" cxnId="{87FAB733-0E71-45F4-A681-746C53B4CE7A}">
      <dgm:prSet/>
      <dgm:spPr/>
      <dgm:t>
        <a:bodyPr/>
        <a:lstStyle/>
        <a:p>
          <a:endParaRPr lang="es-AR"/>
        </a:p>
      </dgm:t>
    </dgm:pt>
    <dgm:pt modelId="{ABD1FA31-5451-4DEE-B3DF-55B79BC5F4FE}">
      <dgm:prSet phldrT="[Text]"/>
      <dgm:spPr/>
      <dgm:t>
        <a:bodyPr/>
        <a:lstStyle/>
        <a:p>
          <a:r>
            <a:rPr lang="es-AR"/>
            <a:t>IN</a:t>
          </a:r>
        </a:p>
      </dgm:t>
    </dgm:pt>
    <dgm:pt modelId="{0D828161-2BFF-46E9-A84D-702F24A711E5}" type="parTrans" cxnId="{F311EB30-654B-45AF-B66C-E2692CAC94FA}">
      <dgm:prSet/>
      <dgm:spPr/>
      <dgm:t>
        <a:bodyPr/>
        <a:lstStyle/>
        <a:p>
          <a:endParaRPr lang="es-AR"/>
        </a:p>
      </dgm:t>
    </dgm:pt>
    <dgm:pt modelId="{70A90099-1CE1-4D45-8E55-2587F7392AAE}" type="sibTrans" cxnId="{F311EB30-654B-45AF-B66C-E2692CAC94FA}">
      <dgm:prSet/>
      <dgm:spPr/>
      <dgm:t>
        <a:bodyPr/>
        <a:lstStyle/>
        <a:p>
          <a:endParaRPr lang="es-AR"/>
        </a:p>
      </dgm:t>
    </dgm:pt>
    <dgm:pt modelId="{79CAF3E2-5E8C-4D08-B4D9-15434D310FF0}">
      <dgm:prSet phldrT="[Text]"/>
      <dgm:spPr/>
      <dgm:t>
        <a:bodyPr/>
        <a:lstStyle/>
        <a:p>
          <a:r>
            <a:rPr lang="es-AR"/>
            <a:t>AR</a:t>
          </a:r>
        </a:p>
      </dgm:t>
    </dgm:pt>
    <dgm:pt modelId="{268C0F30-0A8B-4DC9-8FDA-A9AB91AA66E9}" type="parTrans" cxnId="{B1FA3E53-26D0-481F-A250-3BFEDFAAE4A2}">
      <dgm:prSet/>
      <dgm:spPr/>
      <dgm:t>
        <a:bodyPr/>
        <a:lstStyle/>
        <a:p>
          <a:endParaRPr lang="es-AR"/>
        </a:p>
      </dgm:t>
    </dgm:pt>
    <dgm:pt modelId="{AA603EDD-87FF-41F7-BCF2-D6E1BCAFFEF8}" type="sibTrans" cxnId="{B1FA3E53-26D0-481F-A250-3BFEDFAAE4A2}">
      <dgm:prSet/>
      <dgm:spPr/>
      <dgm:t>
        <a:bodyPr/>
        <a:lstStyle/>
        <a:p>
          <a:endParaRPr lang="es-AR"/>
        </a:p>
      </dgm:t>
    </dgm:pt>
    <dgm:pt modelId="{20C2177F-4D66-4A48-A3EC-44E4A2EF37B7}">
      <dgm:prSet phldrT="[Text]"/>
      <dgm:spPr/>
      <dgm:t>
        <a:bodyPr/>
        <a:lstStyle/>
        <a:p>
          <a:r>
            <a:rPr lang="es-AR"/>
            <a:t>BR</a:t>
          </a:r>
        </a:p>
      </dgm:t>
    </dgm:pt>
    <dgm:pt modelId="{5C66B06C-7AEB-4E34-8C40-FA2C445F236D}" type="parTrans" cxnId="{B70A6525-2131-448F-AFED-3A39318CA19B}">
      <dgm:prSet/>
      <dgm:spPr/>
      <dgm:t>
        <a:bodyPr/>
        <a:lstStyle/>
        <a:p>
          <a:endParaRPr lang="es-AR"/>
        </a:p>
      </dgm:t>
    </dgm:pt>
    <dgm:pt modelId="{A83A1DA2-7347-440C-B089-8F039F1DF51D}" type="sibTrans" cxnId="{B70A6525-2131-448F-AFED-3A39318CA19B}">
      <dgm:prSet/>
      <dgm:spPr/>
      <dgm:t>
        <a:bodyPr/>
        <a:lstStyle/>
        <a:p>
          <a:endParaRPr lang="es-AR"/>
        </a:p>
      </dgm:t>
    </dgm:pt>
    <dgm:pt modelId="{48F51EFB-BBD8-406E-A72A-63F164AE87E2}">
      <dgm:prSet phldrT="[Text]"/>
      <dgm:spPr/>
      <dgm:t>
        <a:bodyPr/>
        <a:lstStyle/>
        <a:p>
          <a:r>
            <a:rPr lang="es-AR"/>
            <a:t>IN</a:t>
          </a:r>
        </a:p>
      </dgm:t>
    </dgm:pt>
    <dgm:pt modelId="{69489ED5-0997-4AB6-BAFE-7DD0EFC3B92A}" type="parTrans" cxnId="{FFF31028-D0A8-420B-80F6-1D0800F502CC}">
      <dgm:prSet/>
      <dgm:spPr/>
      <dgm:t>
        <a:bodyPr/>
        <a:lstStyle/>
        <a:p>
          <a:endParaRPr lang="es-AR"/>
        </a:p>
      </dgm:t>
    </dgm:pt>
    <dgm:pt modelId="{D032F801-0FA8-497A-A28C-D8B0EA9629B6}" type="sibTrans" cxnId="{FFF31028-D0A8-420B-80F6-1D0800F502CC}">
      <dgm:prSet/>
      <dgm:spPr/>
      <dgm:t>
        <a:bodyPr/>
        <a:lstStyle/>
        <a:p>
          <a:endParaRPr lang="es-AR"/>
        </a:p>
      </dgm:t>
    </dgm:pt>
    <dgm:pt modelId="{169029AB-4BED-4D6E-BF0F-D76AA25FBC10}" type="pres">
      <dgm:prSet presAssocID="{EB1E61D1-62F1-4E11-B0BB-DEF045323105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es-AR"/>
        </a:p>
      </dgm:t>
    </dgm:pt>
    <dgm:pt modelId="{13817CD0-5956-43A3-8D29-E1C0E66C99E0}" type="pres">
      <dgm:prSet presAssocID="{1671B4C5-0E44-4C6A-BA0B-5D1816DFE43A}" presName="root1" presStyleCnt="0"/>
      <dgm:spPr/>
      <dgm:t>
        <a:bodyPr/>
        <a:lstStyle/>
        <a:p>
          <a:endParaRPr lang="es-AR"/>
        </a:p>
      </dgm:t>
    </dgm:pt>
    <dgm:pt modelId="{8B15C89B-F956-401A-9384-4002ABF58DC6}" type="pres">
      <dgm:prSet presAssocID="{1671B4C5-0E44-4C6A-BA0B-5D1816DFE43A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es-AR"/>
        </a:p>
      </dgm:t>
    </dgm:pt>
    <dgm:pt modelId="{D87CF0F4-291B-4BEC-A194-810053B5DD9D}" type="pres">
      <dgm:prSet presAssocID="{1671B4C5-0E44-4C6A-BA0B-5D1816DFE43A}" presName="level2hierChild" presStyleCnt="0"/>
      <dgm:spPr/>
      <dgm:t>
        <a:bodyPr/>
        <a:lstStyle/>
        <a:p>
          <a:endParaRPr lang="es-AR"/>
        </a:p>
      </dgm:t>
    </dgm:pt>
    <dgm:pt modelId="{BEE0C368-91B8-48D3-831F-3DDB6B38913D}" type="pres">
      <dgm:prSet presAssocID="{BBC465DE-EA5E-4695-81DF-E1E4F621C693}" presName="conn2-1" presStyleLbl="parChTrans1D2" presStyleIdx="0" presStyleCnt="2"/>
      <dgm:spPr/>
      <dgm:t>
        <a:bodyPr/>
        <a:lstStyle/>
        <a:p>
          <a:endParaRPr lang="es-AR"/>
        </a:p>
      </dgm:t>
    </dgm:pt>
    <dgm:pt modelId="{06142FF9-68B5-4FA7-86FD-777CA84CDF52}" type="pres">
      <dgm:prSet presAssocID="{BBC465DE-EA5E-4695-81DF-E1E4F621C693}" presName="connTx" presStyleLbl="parChTrans1D2" presStyleIdx="0" presStyleCnt="2"/>
      <dgm:spPr/>
      <dgm:t>
        <a:bodyPr/>
        <a:lstStyle/>
        <a:p>
          <a:endParaRPr lang="es-AR"/>
        </a:p>
      </dgm:t>
    </dgm:pt>
    <dgm:pt modelId="{588EAFA3-E06E-4F58-9D7E-798EE3EA86F3}" type="pres">
      <dgm:prSet presAssocID="{4E80D6CD-3600-4FCA-A5FD-95103287A0AB}" presName="root2" presStyleCnt="0"/>
      <dgm:spPr/>
      <dgm:t>
        <a:bodyPr/>
        <a:lstStyle/>
        <a:p>
          <a:endParaRPr lang="es-AR"/>
        </a:p>
      </dgm:t>
    </dgm:pt>
    <dgm:pt modelId="{996557FD-C474-45C3-8F35-8C7909C65C2A}" type="pres">
      <dgm:prSet presAssocID="{4E80D6CD-3600-4FCA-A5FD-95103287A0AB}" presName="LevelTwoTextNode" presStyleLbl="node2" presStyleIdx="0" presStyleCnt="2">
        <dgm:presLayoutVars>
          <dgm:chPref val="3"/>
        </dgm:presLayoutVars>
      </dgm:prSet>
      <dgm:spPr/>
      <dgm:t>
        <a:bodyPr/>
        <a:lstStyle/>
        <a:p>
          <a:endParaRPr lang="es-AR"/>
        </a:p>
      </dgm:t>
    </dgm:pt>
    <dgm:pt modelId="{CBB92B7C-8E08-4E6F-9B85-B0C76A1A1FA9}" type="pres">
      <dgm:prSet presAssocID="{4E80D6CD-3600-4FCA-A5FD-95103287A0AB}" presName="level3hierChild" presStyleCnt="0"/>
      <dgm:spPr/>
      <dgm:t>
        <a:bodyPr/>
        <a:lstStyle/>
        <a:p>
          <a:endParaRPr lang="es-AR"/>
        </a:p>
      </dgm:t>
    </dgm:pt>
    <dgm:pt modelId="{F5B8889A-7B1B-4F9D-98C5-2E2C035A89F8}" type="pres">
      <dgm:prSet presAssocID="{E22CADE0-CE5D-4B38-AEDB-BBA2C2F4022C}" presName="conn2-1" presStyleLbl="parChTrans1D3" presStyleIdx="0" presStyleCnt="5"/>
      <dgm:spPr/>
      <dgm:t>
        <a:bodyPr/>
        <a:lstStyle/>
        <a:p>
          <a:endParaRPr lang="es-AR"/>
        </a:p>
      </dgm:t>
    </dgm:pt>
    <dgm:pt modelId="{69E8D460-63C2-4AED-BFD1-64B4F1357159}" type="pres">
      <dgm:prSet presAssocID="{E22CADE0-CE5D-4B38-AEDB-BBA2C2F4022C}" presName="connTx" presStyleLbl="parChTrans1D3" presStyleIdx="0" presStyleCnt="5"/>
      <dgm:spPr/>
      <dgm:t>
        <a:bodyPr/>
        <a:lstStyle/>
        <a:p>
          <a:endParaRPr lang="es-AR"/>
        </a:p>
      </dgm:t>
    </dgm:pt>
    <dgm:pt modelId="{93377404-C681-4A60-A674-225A462D39B9}" type="pres">
      <dgm:prSet presAssocID="{282D3B29-2040-473B-A1E2-1E8168E083D4}" presName="root2" presStyleCnt="0"/>
      <dgm:spPr/>
      <dgm:t>
        <a:bodyPr/>
        <a:lstStyle/>
        <a:p>
          <a:endParaRPr lang="es-AR"/>
        </a:p>
      </dgm:t>
    </dgm:pt>
    <dgm:pt modelId="{DCF87C6C-4673-4999-B978-B00853CE058F}" type="pres">
      <dgm:prSet presAssocID="{282D3B29-2040-473B-A1E2-1E8168E083D4}" presName="LevelTwoTextNode" presStyleLbl="node3" presStyleIdx="0" presStyleCnt="5">
        <dgm:presLayoutVars>
          <dgm:chPref val="3"/>
        </dgm:presLayoutVars>
      </dgm:prSet>
      <dgm:spPr/>
      <dgm:t>
        <a:bodyPr/>
        <a:lstStyle/>
        <a:p>
          <a:endParaRPr lang="es-AR"/>
        </a:p>
      </dgm:t>
    </dgm:pt>
    <dgm:pt modelId="{14C95F02-042F-48FE-B555-CB6FBB7B3C92}" type="pres">
      <dgm:prSet presAssocID="{282D3B29-2040-473B-A1E2-1E8168E083D4}" presName="level3hierChild" presStyleCnt="0"/>
      <dgm:spPr/>
      <dgm:t>
        <a:bodyPr/>
        <a:lstStyle/>
        <a:p>
          <a:endParaRPr lang="es-AR"/>
        </a:p>
      </dgm:t>
    </dgm:pt>
    <dgm:pt modelId="{5B57114C-2C34-4017-97D5-4F3C660FE8A4}" type="pres">
      <dgm:prSet presAssocID="{D4261C88-1C31-45F5-9DC7-7292802CC2CF}" presName="conn2-1" presStyleLbl="parChTrans1D4" presStyleIdx="0" presStyleCnt="12"/>
      <dgm:spPr/>
      <dgm:t>
        <a:bodyPr/>
        <a:lstStyle/>
        <a:p>
          <a:endParaRPr lang="es-AR"/>
        </a:p>
      </dgm:t>
    </dgm:pt>
    <dgm:pt modelId="{DC383ACD-501B-489A-88D4-47CF8EE913BA}" type="pres">
      <dgm:prSet presAssocID="{D4261C88-1C31-45F5-9DC7-7292802CC2CF}" presName="connTx" presStyleLbl="parChTrans1D4" presStyleIdx="0" presStyleCnt="12"/>
      <dgm:spPr/>
      <dgm:t>
        <a:bodyPr/>
        <a:lstStyle/>
        <a:p>
          <a:endParaRPr lang="es-AR"/>
        </a:p>
      </dgm:t>
    </dgm:pt>
    <dgm:pt modelId="{38061A42-A15B-4249-98F5-F48C1422B7B7}" type="pres">
      <dgm:prSet presAssocID="{B70C4D95-2125-45D3-8DAE-A6B21BFB2CEA}" presName="root2" presStyleCnt="0"/>
      <dgm:spPr/>
      <dgm:t>
        <a:bodyPr/>
        <a:lstStyle/>
        <a:p>
          <a:endParaRPr lang="es-AR"/>
        </a:p>
      </dgm:t>
    </dgm:pt>
    <dgm:pt modelId="{BF91F129-3136-4D2C-82CC-29EDF1B101A1}" type="pres">
      <dgm:prSet presAssocID="{B70C4D95-2125-45D3-8DAE-A6B21BFB2CEA}" presName="LevelTwoTextNode" presStyleLbl="node4" presStyleIdx="0" presStyleCnt="12">
        <dgm:presLayoutVars>
          <dgm:chPref val="3"/>
        </dgm:presLayoutVars>
      </dgm:prSet>
      <dgm:spPr/>
      <dgm:t>
        <a:bodyPr/>
        <a:lstStyle/>
        <a:p>
          <a:endParaRPr lang="es-AR"/>
        </a:p>
      </dgm:t>
    </dgm:pt>
    <dgm:pt modelId="{9E66153E-1944-42D4-ACC2-0AB309E8E555}" type="pres">
      <dgm:prSet presAssocID="{B70C4D95-2125-45D3-8DAE-A6B21BFB2CEA}" presName="level3hierChild" presStyleCnt="0"/>
      <dgm:spPr/>
      <dgm:t>
        <a:bodyPr/>
        <a:lstStyle/>
        <a:p>
          <a:endParaRPr lang="es-AR"/>
        </a:p>
      </dgm:t>
    </dgm:pt>
    <dgm:pt modelId="{3DD8C698-6324-4DE9-AE48-5F5657ECFB89}" type="pres">
      <dgm:prSet presAssocID="{9573FCCF-270A-42B0-BBFA-E49E26D4ED4A}" presName="conn2-1" presStyleLbl="parChTrans1D4" presStyleIdx="1" presStyleCnt="12"/>
      <dgm:spPr/>
      <dgm:t>
        <a:bodyPr/>
        <a:lstStyle/>
        <a:p>
          <a:endParaRPr lang="es-AR"/>
        </a:p>
      </dgm:t>
    </dgm:pt>
    <dgm:pt modelId="{E55686D1-AE08-4486-A763-0C72314CED73}" type="pres">
      <dgm:prSet presAssocID="{9573FCCF-270A-42B0-BBFA-E49E26D4ED4A}" presName="connTx" presStyleLbl="parChTrans1D4" presStyleIdx="1" presStyleCnt="12"/>
      <dgm:spPr/>
      <dgm:t>
        <a:bodyPr/>
        <a:lstStyle/>
        <a:p>
          <a:endParaRPr lang="es-AR"/>
        </a:p>
      </dgm:t>
    </dgm:pt>
    <dgm:pt modelId="{EF7C2EEE-5A27-4331-9DF1-DDBE34F9BDCF}" type="pres">
      <dgm:prSet presAssocID="{E016CF65-EB69-4639-B16E-2FC8D7006F13}" presName="root2" presStyleCnt="0"/>
      <dgm:spPr/>
      <dgm:t>
        <a:bodyPr/>
        <a:lstStyle/>
        <a:p>
          <a:endParaRPr lang="es-AR"/>
        </a:p>
      </dgm:t>
    </dgm:pt>
    <dgm:pt modelId="{248DBC5F-FFCA-44FC-9277-1DDC0DC48B90}" type="pres">
      <dgm:prSet presAssocID="{E016CF65-EB69-4639-B16E-2FC8D7006F13}" presName="LevelTwoTextNode" presStyleLbl="node4" presStyleIdx="1" presStyleCnt="12">
        <dgm:presLayoutVars>
          <dgm:chPref val="3"/>
        </dgm:presLayoutVars>
      </dgm:prSet>
      <dgm:spPr/>
      <dgm:t>
        <a:bodyPr/>
        <a:lstStyle/>
        <a:p>
          <a:endParaRPr lang="es-AR"/>
        </a:p>
      </dgm:t>
    </dgm:pt>
    <dgm:pt modelId="{2762FF87-D500-42A1-8ED5-D77E8C5A908A}" type="pres">
      <dgm:prSet presAssocID="{E016CF65-EB69-4639-B16E-2FC8D7006F13}" presName="level3hierChild" presStyleCnt="0"/>
      <dgm:spPr/>
      <dgm:t>
        <a:bodyPr/>
        <a:lstStyle/>
        <a:p>
          <a:endParaRPr lang="es-AR"/>
        </a:p>
      </dgm:t>
    </dgm:pt>
    <dgm:pt modelId="{A824E9E1-3975-48DD-8BB1-16379DF79407}" type="pres">
      <dgm:prSet presAssocID="{2D4905A2-C2C7-449B-ACF2-99AE976E3719}" presName="conn2-1" presStyleLbl="parChTrans1D3" presStyleIdx="1" presStyleCnt="5"/>
      <dgm:spPr/>
      <dgm:t>
        <a:bodyPr/>
        <a:lstStyle/>
        <a:p>
          <a:endParaRPr lang="es-AR"/>
        </a:p>
      </dgm:t>
    </dgm:pt>
    <dgm:pt modelId="{10AAFFCB-281E-4641-869C-8335F4987E44}" type="pres">
      <dgm:prSet presAssocID="{2D4905A2-C2C7-449B-ACF2-99AE976E3719}" presName="connTx" presStyleLbl="parChTrans1D3" presStyleIdx="1" presStyleCnt="5"/>
      <dgm:spPr/>
      <dgm:t>
        <a:bodyPr/>
        <a:lstStyle/>
        <a:p>
          <a:endParaRPr lang="es-AR"/>
        </a:p>
      </dgm:t>
    </dgm:pt>
    <dgm:pt modelId="{8D3E9237-F01A-4ACD-A0BE-9DE2F1181A61}" type="pres">
      <dgm:prSet presAssocID="{E2D99889-DBAC-4851-94C2-CC4416E02A05}" presName="root2" presStyleCnt="0"/>
      <dgm:spPr/>
      <dgm:t>
        <a:bodyPr/>
        <a:lstStyle/>
        <a:p>
          <a:endParaRPr lang="es-AR"/>
        </a:p>
      </dgm:t>
    </dgm:pt>
    <dgm:pt modelId="{FB982F87-6F35-43D6-841E-51788810657E}" type="pres">
      <dgm:prSet presAssocID="{E2D99889-DBAC-4851-94C2-CC4416E02A05}" presName="LevelTwoTextNode" presStyleLbl="node3" presStyleIdx="1" presStyleCnt="5">
        <dgm:presLayoutVars>
          <dgm:chPref val="3"/>
        </dgm:presLayoutVars>
      </dgm:prSet>
      <dgm:spPr/>
      <dgm:t>
        <a:bodyPr/>
        <a:lstStyle/>
        <a:p>
          <a:endParaRPr lang="es-AR"/>
        </a:p>
      </dgm:t>
    </dgm:pt>
    <dgm:pt modelId="{BBC94F6D-4524-4DFB-8343-272A0FFAFA96}" type="pres">
      <dgm:prSet presAssocID="{E2D99889-DBAC-4851-94C2-CC4416E02A05}" presName="level3hierChild" presStyleCnt="0"/>
      <dgm:spPr/>
      <dgm:t>
        <a:bodyPr/>
        <a:lstStyle/>
        <a:p>
          <a:endParaRPr lang="es-AR"/>
        </a:p>
      </dgm:t>
    </dgm:pt>
    <dgm:pt modelId="{9E52A342-C8AC-4C1A-A133-9559F825132C}" type="pres">
      <dgm:prSet presAssocID="{51207153-A575-4B1B-8926-56C947E2770B}" presName="conn2-1" presStyleLbl="parChTrans1D4" presStyleIdx="2" presStyleCnt="12"/>
      <dgm:spPr/>
      <dgm:t>
        <a:bodyPr/>
        <a:lstStyle/>
        <a:p>
          <a:endParaRPr lang="es-AR"/>
        </a:p>
      </dgm:t>
    </dgm:pt>
    <dgm:pt modelId="{401F1E79-8CFF-4AED-B9CF-93917D43A069}" type="pres">
      <dgm:prSet presAssocID="{51207153-A575-4B1B-8926-56C947E2770B}" presName="connTx" presStyleLbl="parChTrans1D4" presStyleIdx="2" presStyleCnt="12"/>
      <dgm:spPr/>
      <dgm:t>
        <a:bodyPr/>
        <a:lstStyle/>
        <a:p>
          <a:endParaRPr lang="es-AR"/>
        </a:p>
      </dgm:t>
    </dgm:pt>
    <dgm:pt modelId="{A8071BD8-AD9D-4995-A11C-B23578909675}" type="pres">
      <dgm:prSet presAssocID="{983E4D93-8A6C-49DD-91DC-E1F2855E59F9}" presName="root2" presStyleCnt="0"/>
      <dgm:spPr/>
      <dgm:t>
        <a:bodyPr/>
        <a:lstStyle/>
        <a:p>
          <a:endParaRPr lang="es-AR"/>
        </a:p>
      </dgm:t>
    </dgm:pt>
    <dgm:pt modelId="{F0AF7C63-306A-4B9E-9EA9-840710DC07E9}" type="pres">
      <dgm:prSet presAssocID="{983E4D93-8A6C-49DD-91DC-E1F2855E59F9}" presName="LevelTwoTextNode" presStyleLbl="node4" presStyleIdx="2" presStyleCnt="12">
        <dgm:presLayoutVars>
          <dgm:chPref val="3"/>
        </dgm:presLayoutVars>
      </dgm:prSet>
      <dgm:spPr/>
      <dgm:t>
        <a:bodyPr/>
        <a:lstStyle/>
        <a:p>
          <a:endParaRPr lang="es-AR"/>
        </a:p>
      </dgm:t>
    </dgm:pt>
    <dgm:pt modelId="{308F9512-B43A-4943-8D7B-E8109B044F4E}" type="pres">
      <dgm:prSet presAssocID="{983E4D93-8A6C-49DD-91DC-E1F2855E59F9}" presName="level3hierChild" presStyleCnt="0"/>
      <dgm:spPr/>
      <dgm:t>
        <a:bodyPr/>
        <a:lstStyle/>
        <a:p>
          <a:endParaRPr lang="es-AR"/>
        </a:p>
      </dgm:t>
    </dgm:pt>
    <dgm:pt modelId="{1D098C42-FEE2-41DB-9A19-AAC29FF3BCDF}" type="pres">
      <dgm:prSet presAssocID="{4A00A3ED-34DF-43CD-A3BB-5BE885ABCA92}" presName="conn2-1" presStyleLbl="parChTrans1D4" presStyleIdx="3" presStyleCnt="12"/>
      <dgm:spPr/>
      <dgm:t>
        <a:bodyPr/>
        <a:lstStyle/>
        <a:p>
          <a:endParaRPr lang="es-AR"/>
        </a:p>
      </dgm:t>
    </dgm:pt>
    <dgm:pt modelId="{02213183-F816-4C0A-B799-A1D00BD57F3D}" type="pres">
      <dgm:prSet presAssocID="{4A00A3ED-34DF-43CD-A3BB-5BE885ABCA92}" presName="connTx" presStyleLbl="parChTrans1D4" presStyleIdx="3" presStyleCnt="12"/>
      <dgm:spPr/>
      <dgm:t>
        <a:bodyPr/>
        <a:lstStyle/>
        <a:p>
          <a:endParaRPr lang="es-AR"/>
        </a:p>
      </dgm:t>
    </dgm:pt>
    <dgm:pt modelId="{961A06B1-249E-4B84-B7F4-19BE88F9A55D}" type="pres">
      <dgm:prSet presAssocID="{BBE8218E-3AB2-410A-97F1-BB23A0584497}" presName="root2" presStyleCnt="0"/>
      <dgm:spPr/>
      <dgm:t>
        <a:bodyPr/>
        <a:lstStyle/>
        <a:p>
          <a:endParaRPr lang="es-AR"/>
        </a:p>
      </dgm:t>
    </dgm:pt>
    <dgm:pt modelId="{70B7E869-8545-4EDA-AD24-31C6A6652BAF}" type="pres">
      <dgm:prSet presAssocID="{BBE8218E-3AB2-410A-97F1-BB23A0584497}" presName="LevelTwoTextNode" presStyleLbl="node4" presStyleIdx="3" presStyleCnt="12">
        <dgm:presLayoutVars>
          <dgm:chPref val="3"/>
        </dgm:presLayoutVars>
      </dgm:prSet>
      <dgm:spPr/>
      <dgm:t>
        <a:bodyPr/>
        <a:lstStyle/>
        <a:p>
          <a:endParaRPr lang="es-AR"/>
        </a:p>
      </dgm:t>
    </dgm:pt>
    <dgm:pt modelId="{806C60F7-C1CC-4470-AB13-CE4AD2BDD94B}" type="pres">
      <dgm:prSet presAssocID="{BBE8218E-3AB2-410A-97F1-BB23A0584497}" presName="level3hierChild" presStyleCnt="0"/>
      <dgm:spPr/>
      <dgm:t>
        <a:bodyPr/>
        <a:lstStyle/>
        <a:p>
          <a:endParaRPr lang="es-AR"/>
        </a:p>
      </dgm:t>
    </dgm:pt>
    <dgm:pt modelId="{51051FA0-EBE6-42E4-819E-6C0ADF23D25C}" type="pres">
      <dgm:prSet presAssocID="{409C8269-E28B-4661-8D4F-641314AE0799}" presName="conn2-1" presStyleLbl="parChTrans1D4" presStyleIdx="4" presStyleCnt="12"/>
      <dgm:spPr/>
      <dgm:t>
        <a:bodyPr/>
        <a:lstStyle/>
        <a:p>
          <a:endParaRPr lang="es-AR"/>
        </a:p>
      </dgm:t>
    </dgm:pt>
    <dgm:pt modelId="{BA0E4883-49EE-47DB-AB7B-6EF78E423766}" type="pres">
      <dgm:prSet presAssocID="{409C8269-E28B-4661-8D4F-641314AE0799}" presName="connTx" presStyleLbl="parChTrans1D4" presStyleIdx="4" presStyleCnt="12"/>
      <dgm:spPr/>
      <dgm:t>
        <a:bodyPr/>
        <a:lstStyle/>
        <a:p>
          <a:endParaRPr lang="es-AR"/>
        </a:p>
      </dgm:t>
    </dgm:pt>
    <dgm:pt modelId="{3D644743-01B9-40C3-AE0F-A0E26193452E}" type="pres">
      <dgm:prSet presAssocID="{B11776F8-52D8-4075-897C-3CC417EC7733}" presName="root2" presStyleCnt="0"/>
      <dgm:spPr/>
      <dgm:t>
        <a:bodyPr/>
        <a:lstStyle/>
        <a:p>
          <a:endParaRPr lang="es-AR"/>
        </a:p>
      </dgm:t>
    </dgm:pt>
    <dgm:pt modelId="{1AA402FD-DE7A-4063-A27A-4C47CE3CE05F}" type="pres">
      <dgm:prSet presAssocID="{B11776F8-52D8-4075-897C-3CC417EC7733}" presName="LevelTwoTextNode" presStyleLbl="node4" presStyleIdx="4" presStyleCnt="12">
        <dgm:presLayoutVars>
          <dgm:chPref val="3"/>
        </dgm:presLayoutVars>
      </dgm:prSet>
      <dgm:spPr/>
      <dgm:t>
        <a:bodyPr/>
        <a:lstStyle/>
        <a:p>
          <a:endParaRPr lang="es-AR"/>
        </a:p>
      </dgm:t>
    </dgm:pt>
    <dgm:pt modelId="{A17AAC2E-D137-40CE-9300-1AB2ADBBCE14}" type="pres">
      <dgm:prSet presAssocID="{B11776F8-52D8-4075-897C-3CC417EC7733}" presName="level3hierChild" presStyleCnt="0"/>
      <dgm:spPr/>
      <dgm:t>
        <a:bodyPr/>
        <a:lstStyle/>
        <a:p>
          <a:endParaRPr lang="es-AR"/>
        </a:p>
      </dgm:t>
    </dgm:pt>
    <dgm:pt modelId="{59F1D322-558D-450A-A929-52E4E01CE295}" type="pres">
      <dgm:prSet presAssocID="{8D443712-30ED-4D2F-AB9F-058E1BFCCDE3}" presName="conn2-1" presStyleLbl="parChTrans1D4" presStyleIdx="5" presStyleCnt="12"/>
      <dgm:spPr/>
      <dgm:t>
        <a:bodyPr/>
        <a:lstStyle/>
        <a:p>
          <a:endParaRPr lang="es-AR"/>
        </a:p>
      </dgm:t>
    </dgm:pt>
    <dgm:pt modelId="{8F5B1EDF-CF55-40AD-B23F-06CDEA82A7E9}" type="pres">
      <dgm:prSet presAssocID="{8D443712-30ED-4D2F-AB9F-058E1BFCCDE3}" presName="connTx" presStyleLbl="parChTrans1D4" presStyleIdx="5" presStyleCnt="12"/>
      <dgm:spPr/>
      <dgm:t>
        <a:bodyPr/>
        <a:lstStyle/>
        <a:p>
          <a:endParaRPr lang="es-AR"/>
        </a:p>
      </dgm:t>
    </dgm:pt>
    <dgm:pt modelId="{062E0D01-2A5A-47F1-B718-7460009B2205}" type="pres">
      <dgm:prSet presAssocID="{D65C9D05-5A23-46ED-80AC-83D014BBB041}" presName="root2" presStyleCnt="0"/>
      <dgm:spPr/>
      <dgm:t>
        <a:bodyPr/>
        <a:lstStyle/>
        <a:p>
          <a:endParaRPr lang="es-AR"/>
        </a:p>
      </dgm:t>
    </dgm:pt>
    <dgm:pt modelId="{364D744A-4F76-4F99-8A19-C5B282EC2BF1}" type="pres">
      <dgm:prSet presAssocID="{D65C9D05-5A23-46ED-80AC-83D014BBB041}" presName="LevelTwoTextNode" presStyleLbl="node4" presStyleIdx="5" presStyleCnt="12">
        <dgm:presLayoutVars>
          <dgm:chPref val="3"/>
        </dgm:presLayoutVars>
      </dgm:prSet>
      <dgm:spPr/>
      <dgm:t>
        <a:bodyPr/>
        <a:lstStyle/>
        <a:p>
          <a:endParaRPr lang="es-AR"/>
        </a:p>
      </dgm:t>
    </dgm:pt>
    <dgm:pt modelId="{DB3336B9-B88B-4632-925B-337FE3247B68}" type="pres">
      <dgm:prSet presAssocID="{D65C9D05-5A23-46ED-80AC-83D014BBB041}" presName="level3hierChild" presStyleCnt="0"/>
      <dgm:spPr/>
      <dgm:t>
        <a:bodyPr/>
        <a:lstStyle/>
        <a:p>
          <a:endParaRPr lang="es-AR"/>
        </a:p>
      </dgm:t>
    </dgm:pt>
    <dgm:pt modelId="{7BED4291-AE65-4D64-84B1-4B65212D7EAE}" type="pres">
      <dgm:prSet presAssocID="{DF04D7C5-92CC-4F12-B20C-3D4CE31CB2BF}" presName="conn2-1" presStyleLbl="parChTrans1D2" presStyleIdx="1" presStyleCnt="2"/>
      <dgm:spPr/>
      <dgm:t>
        <a:bodyPr/>
        <a:lstStyle/>
        <a:p>
          <a:endParaRPr lang="es-AR"/>
        </a:p>
      </dgm:t>
    </dgm:pt>
    <dgm:pt modelId="{B04FF750-324D-4CF9-9208-C6B7E361C2A7}" type="pres">
      <dgm:prSet presAssocID="{DF04D7C5-92CC-4F12-B20C-3D4CE31CB2BF}" presName="connTx" presStyleLbl="parChTrans1D2" presStyleIdx="1" presStyleCnt="2"/>
      <dgm:spPr/>
      <dgm:t>
        <a:bodyPr/>
        <a:lstStyle/>
        <a:p>
          <a:endParaRPr lang="es-AR"/>
        </a:p>
      </dgm:t>
    </dgm:pt>
    <dgm:pt modelId="{DA379B7E-5F4A-4EB0-84B1-98A2BDEA78E9}" type="pres">
      <dgm:prSet presAssocID="{8F421544-9C30-4B45-B115-7B3554F7D955}" presName="root2" presStyleCnt="0"/>
      <dgm:spPr/>
      <dgm:t>
        <a:bodyPr/>
        <a:lstStyle/>
        <a:p>
          <a:endParaRPr lang="es-AR"/>
        </a:p>
      </dgm:t>
    </dgm:pt>
    <dgm:pt modelId="{7D70A0D2-0F7E-4C34-BF69-5AA97D384028}" type="pres">
      <dgm:prSet presAssocID="{8F421544-9C30-4B45-B115-7B3554F7D955}" presName="LevelTwoTextNode" presStyleLbl="node2" presStyleIdx="1" presStyleCnt="2">
        <dgm:presLayoutVars>
          <dgm:chPref val="3"/>
        </dgm:presLayoutVars>
      </dgm:prSet>
      <dgm:spPr/>
      <dgm:t>
        <a:bodyPr/>
        <a:lstStyle/>
        <a:p>
          <a:endParaRPr lang="es-AR"/>
        </a:p>
      </dgm:t>
    </dgm:pt>
    <dgm:pt modelId="{F77E0828-22BC-4AF4-B2A9-5AFA11434967}" type="pres">
      <dgm:prSet presAssocID="{8F421544-9C30-4B45-B115-7B3554F7D955}" presName="level3hierChild" presStyleCnt="0"/>
      <dgm:spPr/>
      <dgm:t>
        <a:bodyPr/>
        <a:lstStyle/>
        <a:p>
          <a:endParaRPr lang="es-AR"/>
        </a:p>
      </dgm:t>
    </dgm:pt>
    <dgm:pt modelId="{91F0A133-7364-4E28-A937-3840A4A8566D}" type="pres">
      <dgm:prSet presAssocID="{B169ED0D-8AD9-4096-9491-5A90FEA7509D}" presName="conn2-1" presStyleLbl="parChTrans1D3" presStyleIdx="2" presStyleCnt="5"/>
      <dgm:spPr/>
      <dgm:t>
        <a:bodyPr/>
        <a:lstStyle/>
        <a:p>
          <a:endParaRPr lang="es-AR"/>
        </a:p>
      </dgm:t>
    </dgm:pt>
    <dgm:pt modelId="{409EBD57-90AB-4F2A-B2B4-562032BE87FE}" type="pres">
      <dgm:prSet presAssocID="{B169ED0D-8AD9-4096-9491-5A90FEA7509D}" presName="connTx" presStyleLbl="parChTrans1D3" presStyleIdx="2" presStyleCnt="5"/>
      <dgm:spPr/>
      <dgm:t>
        <a:bodyPr/>
        <a:lstStyle/>
        <a:p>
          <a:endParaRPr lang="es-AR"/>
        </a:p>
      </dgm:t>
    </dgm:pt>
    <dgm:pt modelId="{3B207DAB-E032-431C-9A3F-4DFF1C1B6F34}" type="pres">
      <dgm:prSet presAssocID="{13BB8D8F-6006-4993-B4B1-41B25A0393E4}" presName="root2" presStyleCnt="0"/>
      <dgm:spPr/>
      <dgm:t>
        <a:bodyPr/>
        <a:lstStyle/>
        <a:p>
          <a:endParaRPr lang="es-AR"/>
        </a:p>
      </dgm:t>
    </dgm:pt>
    <dgm:pt modelId="{923F666F-6797-4617-A4B3-E95BC3AFDBDE}" type="pres">
      <dgm:prSet presAssocID="{13BB8D8F-6006-4993-B4B1-41B25A0393E4}" presName="LevelTwoTextNode" presStyleLbl="node3" presStyleIdx="2" presStyleCnt="5" custLinFactNeighborX="1152">
        <dgm:presLayoutVars>
          <dgm:chPref val="3"/>
        </dgm:presLayoutVars>
      </dgm:prSet>
      <dgm:spPr/>
      <dgm:t>
        <a:bodyPr/>
        <a:lstStyle/>
        <a:p>
          <a:endParaRPr lang="es-AR"/>
        </a:p>
      </dgm:t>
    </dgm:pt>
    <dgm:pt modelId="{FFB2649E-5390-48AC-AEF1-E08CDCD4D8D8}" type="pres">
      <dgm:prSet presAssocID="{13BB8D8F-6006-4993-B4B1-41B25A0393E4}" presName="level3hierChild" presStyleCnt="0"/>
      <dgm:spPr/>
      <dgm:t>
        <a:bodyPr/>
        <a:lstStyle/>
        <a:p>
          <a:endParaRPr lang="es-AR"/>
        </a:p>
      </dgm:t>
    </dgm:pt>
    <dgm:pt modelId="{0AE009CA-ED58-4D1F-B466-ED20F7522FF6}" type="pres">
      <dgm:prSet presAssocID="{01336130-D7B2-4AAB-9D45-92CABD1D7E41}" presName="conn2-1" presStyleLbl="parChTrans1D4" presStyleIdx="6" presStyleCnt="12"/>
      <dgm:spPr/>
      <dgm:t>
        <a:bodyPr/>
        <a:lstStyle/>
        <a:p>
          <a:endParaRPr lang="es-AR"/>
        </a:p>
      </dgm:t>
    </dgm:pt>
    <dgm:pt modelId="{5347BD64-BF9F-45DC-AE35-5E03E9086E53}" type="pres">
      <dgm:prSet presAssocID="{01336130-D7B2-4AAB-9D45-92CABD1D7E41}" presName="connTx" presStyleLbl="parChTrans1D4" presStyleIdx="6" presStyleCnt="12"/>
      <dgm:spPr/>
      <dgm:t>
        <a:bodyPr/>
        <a:lstStyle/>
        <a:p>
          <a:endParaRPr lang="es-AR"/>
        </a:p>
      </dgm:t>
    </dgm:pt>
    <dgm:pt modelId="{E48CE5EB-E138-4BD5-AF6B-83082F161AC1}" type="pres">
      <dgm:prSet presAssocID="{2A2DD10E-CB29-4C73-9DCC-92CC0D6410D6}" presName="root2" presStyleCnt="0"/>
      <dgm:spPr/>
      <dgm:t>
        <a:bodyPr/>
        <a:lstStyle/>
        <a:p>
          <a:endParaRPr lang="es-AR"/>
        </a:p>
      </dgm:t>
    </dgm:pt>
    <dgm:pt modelId="{56656885-16C1-4C6C-97AE-9F35EBC720B1}" type="pres">
      <dgm:prSet presAssocID="{2A2DD10E-CB29-4C73-9DCC-92CC0D6410D6}" presName="LevelTwoTextNode" presStyleLbl="node4" presStyleIdx="6" presStyleCnt="12">
        <dgm:presLayoutVars>
          <dgm:chPref val="3"/>
        </dgm:presLayoutVars>
      </dgm:prSet>
      <dgm:spPr/>
      <dgm:t>
        <a:bodyPr/>
        <a:lstStyle/>
        <a:p>
          <a:endParaRPr lang="es-AR"/>
        </a:p>
      </dgm:t>
    </dgm:pt>
    <dgm:pt modelId="{A1EB2BA6-7C69-4890-94C8-7B0443A977C2}" type="pres">
      <dgm:prSet presAssocID="{2A2DD10E-CB29-4C73-9DCC-92CC0D6410D6}" presName="level3hierChild" presStyleCnt="0"/>
      <dgm:spPr/>
      <dgm:t>
        <a:bodyPr/>
        <a:lstStyle/>
        <a:p>
          <a:endParaRPr lang="es-AR"/>
        </a:p>
      </dgm:t>
    </dgm:pt>
    <dgm:pt modelId="{152D7CF2-BEBF-4B68-8BA1-CA891AE8EE82}" type="pres">
      <dgm:prSet presAssocID="{C62A26CF-7A9F-4F4F-930C-B0DA5B1343E3}" presName="conn2-1" presStyleLbl="parChTrans1D3" presStyleIdx="3" presStyleCnt="5"/>
      <dgm:spPr/>
      <dgm:t>
        <a:bodyPr/>
        <a:lstStyle/>
        <a:p>
          <a:endParaRPr lang="es-AR"/>
        </a:p>
      </dgm:t>
    </dgm:pt>
    <dgm:pt modelId="{5D39851F-A1A1-47FE-936B-0084F0B5F968}" type="pres">
      <dgm:prSet presAssocID="{C62A26CF-7A9F-4F4F-930C-B0DA5B1343E3}" presName="connTx" presStyleLbl="parChTrans1D3" presStyleIdx="3" presStyleCnt="5"/>
      <dgm:spPr/>
      <dgm:t>
        <a:bodyPr/>
        <a:lstStyle/>
        <a:p>
          <a:endParaRPr lang="es-AR"/>
        </a:p>
      </dgm:t>
    </dgm:pt>
    <dgm:pt modelId="{84FFB9D5-21D3-4942-AEB7-872440053A2D}" type="pres">
      <dgm:prSet presAssocID="{066847C3-9961-4F9B-95B5-4ACCFE2983EE}" presName="root2" presStyleCnt="0"/>
      <dgm:spPr/>
      <dgm:t>
        <a:bodyPr/>
        <a:lstStyle/>
        <a:p>
          <a:endParaRPr lang="es-AR"/>
        </a:p>
      </dgm:t>
    </dgm:pt>
    <dgm:pt modelId="{1CF30EF4-9E2D-4192-9553-C5AADE99BB21}" type="pres">
      <dgm:prSet presAssocID="{066847C3-9961-4F9B-95B5-4ACCFE2983EE}" presName="LevelTwoTextNode" presStyleLbl="node3" presStyleIdx="3" presStyleCnt="5">
        <dgm:presLayoutVars>
          <dgm:chPref val="3"/>
        </dgm:presLayoutVars>
      </dgm:prSet>
      <dgm:spPr/>
      <dgm:t>
        <a:bodyPr/>
        <a:lstStyle/>
        <a:p>
          <a:endParaRPr lang="es-AR"/>
        </a:p>
      </dgm:t>
    </dgm:pt>
    <dgm:pt modelId="{99BB283F-587F-4380-97B6-BBA388E97270}" type="pres">
      <dgm:prSet presAssocID="{066847C3-9961-4F9B-95B5-4ACCFE2983EE}" presName="level3hierChild" presStyleCnt="0"/>
      <dgm:spPr/>
      <dgm:t>
        <a:bodyPr/>
        <a:lstStyle/>
        <a:p>
          <a:endParaRPr lang="es-AR"/>
        </a:p>
      </dgm:t>
    </dgm:pt>
    <dgm:pt modelId="{1DD425BA-C91B-48D8-9EC0-8664E9C609B8}" type="pres">
      <dgm:prSet presAssocID="{C1C9207D-3615-4A58-B4D2-FA0B8EC0C126}" presName="conn2-1" presStyleLbl="parChTrans1D4" presStyleIdx="7" presStyleCnt="12"/>
      <dgm:spPr/>
      <dgm:t>
        <a:bodyPr/>
        <a:lstStyle/>
        <a:p>
          <a:endParaRPr lang="es-AR"/>
        </a:p>
      </dgm:t>
    </dgm:pt>
    <dgm:pt modelId="{F0522C6E-0E4C-499C-80BD-F155E5C80E8D}" type="pres">
      <dgm:prSet presAssocID="{C1C9207D-3615-4A58-B4D2-FA0B8EC0C126}" presName="connTx" presStyleLbl="parChTrans1D4" presStyleIdx="7" presStyleCnt="12"/>
      <dgm:spPr/>
      <dgm:t>
        <a:bodyPr/>
        <a:lstStyle/>
        <a:p>
          <a:endParaRPr lang="es-AR"/>
        </a:p>
      </dgm:t>
    </dgm:pt>
    <dgm:pt modelId="{A3F61585-EA53-4E8E-B819-A8FAFAF56C54}" type="pres">
      <dgm:prSet presAssocID="{2B6EB9D1-D00B-4D40-8934-838FDC67E49C}" presName="root2" presStyleCnt="0"/>
      <dgm:spPr/>
      <dgm:t>
        <a:bodyPr/>
        <a:lstStyle/>
        <a:p>
          <a:endParaRPr lang="es-AR"/>
        </a:p>
      </dgm:t>
    </dgm:pt>
    <dgm:pt modelId="{0F3FC4EF-26B3-4DAB-BE0C-123DF19A2986}" type="pres">
      <dgm:prSet presAssocID="{2B6EB9D1-D00B-4D40-8934-838FDC67E49C}" presName="LevelTwoTextNode" presStyleLbl="node4" presStyleIdx="7" presStyleCnt="12">
        <dgm:presLayoutVars>
          <dgm:chPref val="3"/>
        </dgm:presLayoutVars>
      </dgm:prSet>
      <dgm:spPr/>
      <dgm:t>
        <a:bodyPr/>
        <a:lstStyle/>
        <a:p>
          <a:endParaRPr lang="es-AR"/>
        </a:p>
      </dgm:t>
    </dgm:pt>
    <dgm:pt modelId="{1B6BE940-DFED-4D4C-89DA-D23686A2529D}" type="pres">
      <dgm:prSet presAssocID="{2B6EB9D1-D00B-4D40-8934-838FDC67E49C}" presName="level3hierChild" presStyleCnt="0"/>
      <dgm:spPr/>
      <dgm:t>
        <a:bodyPr/>
        <a:lstStyle/>
        <a:p>
          <a:endParaRPr lang="es-AR"/>
        </a:p>
      </dgm:t>
    </dgm:pt>
    <dgm:pt modelId="{71325118-D63C-4962-AC0A-F9F9F74B9EEE}" type="pres">
      <dgm:prSet presAssocID="{0D828161-2BFF-46E9-A84D-702F24A711E5}" presName="conn2-1" presStyleLbl="parChTrans1D4" presStyleIdx="8" presStyleCnt="12"/>
      <dgm:spPr/>
      <dgm:t>
        <a:bodyPr/>
        <a:lstStyle/>
        <a:p>
          <a:endParaRPr lang="es-AR"/>
        </a:p>
      </dgm:t>
    </dgm:pt>
    <dgm:pt modelId="{B9B2AA38-6237-4C7B-B1EA-5AC5A117BA32}" type="pres">
      <dgm:prSet presAssocID="{0D828161-2BFF-46E9-A84D-702F24A711E5}" presName="connTx" presStyleLbl="parChTrans1D4" presStyleIdx="8" presStyleCnt="12"/>
      <dgm:spPr/>
      <dgm:t>
        <a:bodyPr/>
        <a:lstStyle/>
        <a:p>
          <a:endParaRPr lang="es-AR"/>
        </a:p>
      </dgm:t>
    </dgm:pt>
    <dgm:pt modelId="{FB6E6D58-2AC2-4A9D-B8AE-287C937F6428}" type="pres">
      <dgm:prSet presAssocID="{ABD1FA31-5451-4DEE-B3DF-55B79BC5F4FE}" presName="root2" presStyleCnt="0"/>
      <dgm:spPr/>
      <dgm:t>
        <a:bodyPr/>
        <a:lstStyle/>
        <a:p>
          <a:endParaRPr lang="es-AR"/>
        </a:p>
      </dgm:t>
    </dgm:pt>
    <dgm:pt modelId="{F589644E-E2BB-48A6-98C1-6514391D62A9}" type="pres">
      <dgm:prSet presAssocID="{ABD1FA31-5451-4DEE-B3DF-55B79BC5F4FE}" presName="LevelTwoTextNode" presStyleLbl="node4" presStyleIdx="8" presStyleCnt="12">
        <dgm:presLayoutVars>
          <dgm:chPref val="3"/>
        </dgm:presLayoutVars>
      </dgm:prSet>
      <dgm:spPr/>
      <dgm:t>
        <a:bodyPr/>
        <a:lstStyle/>
        <a:p>
          <a:endParaRPr lang="es-AR"/>
        </a:p>
      </dgm:t>
    </dgm:pt>
    <dgm:pt modelId="{99A0B44C-13DA-4019-A41C-A9B9FD1DF7DA}" type="pres">
      <dgm:prSet presAssocID="{ABD1FA31-5451-4DEE-B3DF-55B79BC5F4FE}" presName="level3hierChild" presStyleCnt="0"/>
      <dgm:spPr/>
      <dgm:t>
        <a:bodyPr/>
        <a:lstStyle/>
        <a:p>
          <a:endParaRPr lang="es-AR"/>
        </a:p>
      </dgm:t>
    </dgm:pt>
    <dgm:pt modelId="{CC42129A-42F5-4CA1-9826-8354525BFAC4}" type="pres">
      <dgm:prSet presAssocID="{210EBAAB-D2C3-4D05-A961-DA4FEFC8C644}" presName="conn2-1" presStyleLbl="parChTrans1D3" presStyleIdx="4" presStyleCnt="5"/>
      <dgm:spPr/>
      <dgm:t>
        <a:bodyPr/>
        <a:lstStyle/>
        <a:p>
          <a:endParaRPr lang="es-AR"/>
        </a:p>
      </dgm:t>
    </dgm:pt>
    <dgm:pt modelId="{1B9517F6-55E5-49EB-AE3C-38D105B67383}" type="pres">
      <dgm:prSet presAssocID="{210EBAAB-D2C3-4D05-A961-DA4FEFC8C644}" presName="connTx" presStyleLbl="parChTrans1D3" presStyleIdx="4" presStyleCnt="5"/>
      <dgm:spPr/>
      <dgm:t>
        <a:bodyPr/>
        <a:lstStyle/>
        <a:p>
          <a:endParaRPr lang="es-AR"/>
        </a:p>
      </dgm:t>
    </dgm:pt>
    <dgm:pt modelId="{D8533234-72BE-4471-BEDB-67E7AF625462}" type="pres">
      <dgm:prSet presAssocID="{787B8C8F-F759-4061-A4F8-2387580E37B3}" presName="root2" presStyleCnt="0"/>
      <dgm:spPr/>
      <dgm:t>
        <a:bodyPr/>
        <a:lstStyle/>
        <a:p>
          <a:endParaRPr lang="es-AR"/>
        </a:p>
      </dgm:t>
    </dgm:pt>
    <dgm:pt modelId="{CCD897E1-2F98-405B-A7A8-39DC790F444D}" type="pres">
      <dgm:prSet presAssocID="{787B8C8F-F759-4061-A4F8-2387580E37B3}" presName="LevelTwoTextNode" presStyleLbl="node3" presStyleIdx="4" presStyleCnt="5">
        <dgm:presLayoutVars>
          <dgm:chPref val="3"/>
        </dgm:presLayoutVars>
      </dgm:prSet>
      <dgm:spPr/>
      <dgm:t>
        <a:bodyPr/>
        <a:lstStyle/>
        <a:p>
          <a:endParaRPr lang="es-AR"/>
        </a:p>
      </dgm:t>
    </dgm:pt>
    <dgm:pt modelId="{A771AF2E-C358-40B2-B343-29EEEE582485}" type="pres">
      <dgm:prSet presAssocID="{787B8C8F-F759-4061-A4F8-2387580E37B3}" presName="level3hierChild" presStyleCnt="0"/>
      <dgm:spPr/>
      <dgm:t>
        <a:bodyPr/>
        <a:lstStyle/>
        <a:p>
          <a:endParaRPr lang="es-AR"/>
        </a:p>
      </dgm:t>
    </dgm:pt>
    <dgm:pt modelId="{92959400-FA58-49DE-9B60-383E0C0B4891}" type="pres">
      <dgm:prSet presAssocID="{268C0F30-0A8B-4DC9-8FDA-A9AB91AA66E9}" presName="conn2-1" presStyleLbl="parChTrans1D4" presStyleIdx="9" presStyleCnt="12"/>
      <dgm:spPr/>
      <dgm:t>
        <a:bodyPr/>
        <a:lstStyle/>
        <a:p>
          <a:endParaRPr lang="es-AR"/>
        </a:p>
      </dgm:t>
    </dgm:pt>
    <dgm:pt modelId="{6246DDA2-EF36-4CFE-9C07-A2990843225D}" type="pres">
      <dgm:prSet presAssocID="{268C0F30-0A8B-4DC9-8FDA-A9AB91AA66E9}" presName="connTx" presStyleLbl="parChTrans1D4" presStyleIdx="9" presStyleCnt="12"/>
      <dgm:spPr/>
      <dgm:t>
        <a:bodyPr/>
        <a:lstStyle/>
        <a:p>
          <a:endParaRPr lang="es-AR"/>
        </a:p>
      </dgm:t>
    </dgm:pt>
    <dgm:pt modelId="{22C470C7-104D-4FC6-A679-E540EC87FD3C}" type="pres">
      <dgm:prSet presAssocID="{79CAF3E2-5E8C-4D08-B4D9-15434D310FF0}" presName="root2" presStyleCnt="0"/>
      <dgm:spPr/>
      <dgm:t>
        <a:bodyPr/>
        <a:lstStyle/>
        <a:p>
          <a:endParaRPr lang="es-AR"/>
        </a:p>
      </dgm:t>
    </dgm:pt>
    <dgm:pt modelId="{30D88C84-24C4-4240-A0FD-D4204D1F4795}" type="pres">
      <dgm:prSet presAssocID="{79CAF3E2-5E8C-4D08-B4D9-15434D310FF0}" presName="LevelTwoTextNode" presStyleLbl="node4" presStyleIdx="9" presStyleCnt="12">
        <dgm:presLayoutVars>
          <dgm:chPref val="3"/>
        </dgm:presLayoutVars>
      </dgm:prSet>
      <dgm:spPr/>
      <dgm:t>
        <a:bodyPr/>
        <a:lstStyle/>
        <a:p>
          <a:endParaRPr lang="es-AR"/>
        </a:p>
      </dgm:t>
    </dgm:pt>
    <dgm:pt modelId="{48D58FA8-C0EC-41F5-AD5D-C934604AB841}" type="pres">
      <dgm:prSet presAssocID="{79CAF3E2-5E8C-4D08-B4D9-15434D310FF0}" presName="level3hierChild" presStyleCnt="0"/>
      <dgm:spPr/>
      <dgm:t>
        <a:bodyPr/>
        <a:lstStyle/>
        <a:p>
          <a:endParaRPr lang="es-AR"/>
        </a:p>
      </dgm:t>
    </dgm:pt>
    <dgm:pt modelId="{6A2E57C2-1CE8-4AE0-94DB-88B7AC381AEC}" type="pres">
      <dgm:prSet presAssocID="{5C66B06C-7AEB-4E34-8C40-FA2C445F236D}" presName="conn2-1" presStyleLbl="parChTrans1D4" presStyleIdx="10" presStyleCnt="12"/>
      <dgm:spPr/>
      <dgm:t>
        <a:bodyPr/>
        <a:lstStyle/>
        <a:p>
          <a:endParaRPr lang="es-AR"/>
        </a:p>
      </dgm:t>
    </dgm:pt>
    <dgm:pt modelId="{17D741D1-51C6-474C-989B-F35EDCC94D35}" type="pres">
      <dgm:prSet presAssocID="{5C66B06C-7AEB-4E34-8C40-FA2C445F236D}" presName="connTx" presStyleLbl="parChTrans1D4" presStyleIdx="10" presStyleCnt="12"/>
      <dgm:spPr/>
      <dgm:t>
        <a:bodyPr/>
        <a:lstStyle/>
        <a:p>
          <a:endParaRPr lang="es-AR"/>
        </a:p>
      </dgm:t>
    </dgm:pt>
    <dgm:pt modelId="{F5711D64-53BE-4978-990F-E8A59ADA52CD}" type="pres">
      <dgm:prSet presAssocID="{20C2177F-4D66-4A48-A3EC-44E4A2EF37B7}" presName="root2" presStyleCnt="0"/>
      <dgm:spPr/>
      <dgm:t>
        <a:bodyPr/>
        <a:lstStyle/>
        <a:p>
          <a:endParaRPr lang="es-AR"/>
        </a:p>
      </dgm:t>
    </dgm:pt>
    <dgm:pt modelId="{6DF9D2E0-C316-43E8-A78F-CE33559BD554}" type="pres">
      <dgm:prSet presAssocID="{20C2177F-4D66-4A48-A3EC-44E4A2EF37B7}" presName="LevelTwoTextNode" presStyleLbl="node4" presStyleIdx="10" presStyleCnt="12">
        <dgm:presLayoutVars>
          <dgm:chPref val="3"/>
        </dgm:presLayoutVars>
      </dgm:prSet>
      <dgm:spPr/>
      <dgm:t>
        <a:bodyPr/>
        <a:lstStyle/>
        <a:p>
          <a:endParaRPr lang="es-AR"/>
        </a:p>
      </dgm:t>
    </dgm:pt>
    <dgm:pt modelId="{B59AE482-82C7-4C8C-9DEE-F1F1A7C90A69}" type="pres">
      <dgm:prSet presAssocID="{20C2177F-4D66-4A48-A3EC-44E4A2EF37B7}" presName="level3hierChild" presStyleCnt="0"/>
      <dgm:spPr/>
      <dgm:t>
        <a:bodyPr/>
        <a:lstStyle/>
        <a:p>
          <a:endParaRPr lang="es-AR"/>
        </a:p>
      </dgm:t>
    </dgm:pt>
    <dgm:pt modelId="{43A351FE-D1C8-4A42-8F36-60E5DFB5D4DB}" type="pres">
      <dgm:prSet presAssocID="{69489ED5-0997-4AB6-BAFE-7DD0EFC3B92A}" presName="conn2-1" presStyleLbl="parChTrans1D4" presStyleIdx="11" presStyleCnt="12"/>
      <dgm:spPr/>
      <dgm:t>
        <a:bodyPr/>
        <a:lstStyle/>
        <a:p>
          <a:endParaRPr lang="es-AR"/>
        </a:p>
      </dgm:t>
    </dgm:pt>
    <dgm:pt modelId="{B665C091-EA0A-4E9B-80F2-7CEE23C7E9AC}" type="pres">
      <dgm:prSet presAssocID="{69489ED5-0997-4AB6-BAFE-7DD0EFC3B92A}" presName="connTx" presStyleLbl="parChTrans1D4" presStyleIdx="11" presStyleCnt="12"/>
      <dgm:spPr/>
      <dgm:t>
        <a:bodyPr/>
        <a:lstStyle/>
        <a:p>
          <a:endParaRPr lang="es-AR"/>
        </a:p>
      </dgm:t>
    </dgm:pt>
    <dgm:pt modelId="{C385845E-4BDC-4E4D-8992-3D514524C884}" type="pres">
      <dgm:prSet presAssocID="{48F51EFB-BBD8-406E-A72A-63F164AE87E2}" presName="root2" presStyleCnt="0"/>
      <dgm:spPr/>
      <dgm:t>
        <a:bodyPr/>
        <a:lstStyle/>
        <a:p>
          <a:endParaRPr lang="es-AR"/>
        </a:p>
      </dgm:t>
    </dgm:pt>
    <dgm:pt modelId="{FABF1E00-8788-4C82-9CB2-F8AE1E24D9F3}" type="pres">
      <dgm:prSet presAssocID="{48F51EFB-BBD8-406E-A72A-63F164AE87E2}" presName="LevelTwoTextNode" presStyleLbl="node4" presStyleIdx="11" presStyleCnt="12" custLinFactNeighborX="280" custLinFactNeighborY="-2858">
        <dgm:presLayoutVars>
          <dgm:chPref val="3"/>
        </dgm:presLayoutVars>
      </dgm:prSet>
      <dgm:spPr/>
      <dgm:t>
        <a:bodyPr/>
        <a:lstStyle/>
        <a:p>
          <a:endParaRPr lang="es-AR"/>
        </a:p>
      </dgm:t>
    </dgm:pt>
    <dgm:pt modelId="{398D2676-276B-4299-A088-91665F1209D7}" type="pres">
      <dgm:prSet presAssocID="{48F51EFB-BBD8-406E-A72A-63F164AE87E2}" presName="level3hierChild" presStyleCnt="0"/>
      <dgm:spPr/>
      <dgm:t>
        <a:bodyPr/>
        <a:lstStyle/>
        <a:p>
          <a:endParaRPr lang="es-AR"/>
        </a:p>
      </dgm:t>
    </dgm:pt>
  </dgm:ptLst>
  <dgm:cxnLst>
    <dgm:cxn modelId="{AD5D1EE5-1D3F-435F-BA26-9E6314D39194}" type="presOf" srcId="{2D4905A2-C2C7-449B-ACF2-99AE976E3719}" destId="{A824E9E1-3975-48DD-8BB1-16379DF79407}" srcOrd="0" destOrd="0" presId="urn:microsoft.com/office/officeart/2005/8/layout/hierarchy2"/>
    <dgm:cxn modelId="{32079520-E630-4BF6-B4B4-7D27E491FD6A}" type="presOf" srcId="{ABD1FA31-5451-4DEE-B3DF-55B79BC5F4FE}" destId="{F589644E-E2BB-48A6-98C1-6514391D62A9}" srcOrd="0" destOrd="0" presId="urn:microsoft.com/office/officeart/2005/8/layout/hierarchy2"/>
    <dgm:cxn modelId="{FCAD0DBA-CE53-42FD-BE51-5FBDCE3B4E39}" type="presOf" srcId="{8F421544-9C30-4B45-B115-7B3554F7D955}" destId="{7D70A0D2-0F7E-4C34-BF69-5AA97D384028}" srcOrd="0" destOrd="0" presId="urn:microsoft.com/office/officeart/2005/8/layout/hierarchy2"/>
    <dgm:cxn modelId="{A3B395DA-40A2-439D-A664-7EB14912A95A}" type="presOf" srcId="{C1C9207D-3615-4A58-B4D2-FA0B8EC0C126}" destId="{F0522C6E-0E4C-499C-80BD-F155E5C80E8D}" srcOrd="1" destOrd="0" presId="urn:microsoft.com/office/officeart/2005/8/layout/hierarchy2"/>
    <dgm:cxn modelId="{F311EB30-654B-45AF-B66C-E2692CAC94FA}" srcId="{066847C3-9961-4F9B-95B5-4ACCFE2983EE}" destId="{ABD1FA31-5451-4DEE-B3DF-55B79BC5F4FE}" srcOrd="1" destOrd="0" parTransId="{0D828161-2BFF-46E9-A84D-702F24A711E5}" sibTransId="{70A90099-1CE1-4D45-8E55-2587F7392AAE}"/>
    <dgm:cxn modelId="{E1521D07-7CB3-45A1-A08C-2CC4D7F6CEE7}" srcId="{E2D99889-DBAC-4851-94C2-CC4416E02A05}" destId="{983E4D93-8A6C-49DD-91DC-E1F2855E59F9}" srcOrd="0" destOrd="0" parTransId="{51207153-A575-4B1B-8926-56C947E2770B}" sibTransId="{CA0F9973-F84F-481A-BF76-5D081F899BD4}"/>
    <dgm:cxn modelId="{09B2E65C-82E2-40F3-8839-1B31BBD020F3}" type="presOf" srcId="{BBC465DE-EA5E-4695-81DF-E1E4F621C693}" destId="{06142FF9-68B5-4FA7-86FD-777CA84CDF52}" srcOrd="1" destOrd="0" presId="urn:microsoft.com/office/officeart/2005/8/layout/hierarchy2"/>
    <dgm:cxn modelId="{F39D5927-BCB8-41E1-A25B-CCF915BC7C20}" srcId="{E2D99889-DBAC-4851-94C2-CC4416E02A05}" destId="{BBE8218E-3AB2-410A-97F1-BB23A0584497}" srcOrd="1" destOrd="0" parTransId="{4A00A3ED-34DF-43CD-A3BB-5BE885ABCA92}" sibTransId="{9700DEFF-104E-4B1D-BC08-0362FF4688F3}"/>
    <dgm:cxn modelId="{E6C16581-2247-4AB4-B899-418E6143FBB1}" type="presOf" srcId="{4E80D6CD-3600-4FCA-A5FD-95103287A0AB}" destId="{996557FD-C474-45C3-8F35-8C7909C65C2A}" srcOrd="0" destOrd="0" presId="urn:microsoft.com/office/officeart/2005/8/layout/hierarchy2"/>
    <dgm:cxn modelId="{FFF31028-D0A8-420B-80F6-1D0800F502CC}" srcId="{787B8C8F-F759-4061-A4F8-2387580E37B3}" destId="{48F51EFB-BBD8-406E-A72A-63F164AE87E2}" srcOrd="2" destOrd="0" parTransId="{69489ED5-0997-4AB6-BAFE-7DD0EFC3B92A}" sibTransId="{D032F801-0FA8-497A-A28C-D8B0EA9629B6}"/>
    <dgm:cxn modelId="{01E5B323-21E3-49F2-9677-8832BD431842}" type="presOf" srcId="{E22CADE0-CE5D-4B38-AEDB-BBA2C2F4022C}" destId="{69E8D460-63C2-4AED-BFD1-64B4F1357159}" srcOrd="1" destOrd="0" presId="urn:microsoft.com/office/officeart/2005/8/layout/hierarchy2"/>
    <dgm:cxn modelId="{EE3A6D67-4056-4112-9336-BDED9009BB6D}" srcId="{8F421544-9C30-4B45-B115-7B3554F7D955}" destId="{787B8C8F-F759-4061-A4F8-2387580E37B3}" srcOrd="2" destOrd="0" parTransId="{210EBAAB-D2C3-4D05-A961-DA4FEFC8C644}" sibTransId="{3C9D89F7-90CC-4678-9CD6-1F9FAB6BFA0D}"/>
    <dgm:cxn modelId="{7083A24D-4843-455E-AEB6-A9BFD3C42F13}" type="presOf" srcId="{B169ED0D-8AD9-4096-9491-5A90FEA7509D}" destId="{409EBD57-90AB-4F2A-B2B4-562032BE87FE}" srcOrd="1" destOrd="0" presId="urn:microsoft.com/office/officeart/2005/8/layout/hierarchy2"/>
    <dgm:cxn modelId="{B346A4A1-49AB-4FB8-97D5-E942F507E334}" type="presOf" srcId="{C1C9207D-3615-4A58-B4D2-FA0B8EC0C126}" destId="{1DD425BA-C91B-48D8-9EC0-8664E9C609B8}" srcOrd="0" destOrd="0" presId="urn:microsoft.com/office/officeart/2005/8/layout/hierarchy2"/>
    <dgm:cxn modelId="{847B4DD3-518E-4D48-887D-3DF58C0D628F}" type="presOf" srcId="{0D828161-2BFF-46E9-A84D-702F24A711E5}" destId="{71325118-D63C-4962-AC0A-F9F9F74B9EEE}" srcOrd="0" destOrd="0" presId="urn:microsoft.com/office/officeart/2005/8/layout/hierarchy2"/>
    <dgm:cxn modelId="{D81B5A06-52AA-4795-AC84-FD42A226389E}" type="presOf" srcId="{E2D99889-DBAC-4851-94C2-CC4416E02A05}" destId="{FB982F87-6F35-43D6-841E-51788810657E}" srcOrd="0" destOrd="0" presId="urn:microsoft.com/office/officeart/2005/8/layout/hierarchy2"/>
    <dgm:cxn modelId="{6AEA794E-EEF0-436A-891C-5427B729BE40}" type="presOf" srcId="{69489ED5-0997-4AB6-BAFE-7DD0EFC3B92A}" destId="{43A351FE-D1C8-4A42-8F36-60E5DFB5D4DB}" srcOrd="0" destOrd="0" presId="urn:microsoft.com/office/officeart/2005/8/layout/hierarchy2"/>
    <dgm:cxn modelId="{FC3BC108-9CD8-440C-ABB7-7789EBB2A69A}" type="presOf" srcId="{4A00A3ED-34DF-43CD-A3BB-5BE885ABCA92}" destId="{1D098C42-FEE2-41DB-9A19-AAC29FF3BCDF}" srcOrd="0" destOrd="0" presId="urn:microsoft.com/office/officeart/2005/8/layout/hierarchy2"/>
    <dgm:cxn modelId="{7DA97C64-D216-4603-A6CD-2654A021EB93}" type="presOf" srcId="{DF04D7C5-92CC-4F12-B20C-3D4CE31CB2BF}" destId="{7BED4291-AE65-4D64-84B1-4B65212D7EAE}" srcOrd="0" destOrd="0" presId="urn:microsoft.com/office/officeart/2005/8/layout/hierarchy2"/>
    <dgm:cxn modelId="{FE0C4E43-C7FA-43BB-8863-85C4A1E2E982}" type="presOf" srcId="{DF04D7C5-92CC-4F12-B20C-3D4CE31CB2BF}" destId="{B04FF750-324D-4CF9-9208-C6B7E361C2A7}" srcOrd="1" destOrd="0" presId="urn:microsoft.com/office/officeart/2005/8/layout/hierarchy2"/>
    <dgm:cxn modelId="{0759D09F-0350-49DF-A794-2B5B1FD2F307}" srcId="{EB1E61D1-62F1-4E11-B0BB-DEF045323105}" destId="{1671B4C5-0E44-4C6A-BA0B-5D1816DFE43A}" srcOrd="0" destOrd="0" parTransId="{FCD72CC2-EC3B-43A9-82E9-B4E356F1324C}" sibTransId="{4369036C-FA82-4FAC-8DA1-ACFDDA69A78E}"/>
    <dgm:cxn modelId="{0C36E30E-C163-4BE2-B84E-28BE414E4C82}" type="presOf" srcId="{2A2DD10E-CB29-4C73-9DCC-92CC0D6410D6}" destId="{56656885-16C1-4C6C-97AE-9F35EBC720B1}" srcOrd="0" destOrd="0" presId="urn:microsoft.com/office/officeart/2005/8/layout/hierarchy2"/>
    <dgm:cxn modelId="{4E7F95ED-93CA-46D2-B06A-4003994A2435}" type="presOf" srcId="{C62A26CF-7A9F-4F4F-930C-B0DA5B1343E3}" destId="{5D39851F-A1A1-47FE-936B-0084F0B5F968}" srcOrd="1" destOrd="0" presId="urn:microsoft.com/office/officeart/2005/8/layout/hierarchy2"/>
    <dgm:cxn modelId="{B4CF3EA4-D9CE-429B-94CE-7D7F0B355567}" type="presOf" srcId="{210EBAAB-D2C3-4D05-A961-DA4FEFC8C644}" destId="{CC42129A-42F5-4CA1-9826-8354525BFAC4}" srcOrd="0" destOrd="0" presId="urn:microsoft.com/office/officeart/2005/8/layout/hierarchy2"/>
    <dgm:cxn modelId="{2B5CFB38-058C-4902-8705-3FD1D454C16C}" srcId="{282D3B29-2040-473B-A1E2-1E8168E083D4}" destId="{E016CF65-EB69-4639-B16E-2FC8D7006F13}" srcOrd="1" destOrd="0" parTransId="{9573FCCF-270A-42B0-BBFA-E49E26D4ED4A}" sibTransId="{A5DEFCA2-8702-4EE9-B585-56B27F56C223}"/>
    <dgm:cxn modelId="{2A686271-A572-40B9-A703-F8F0BAF5A450}" type="presOf" srcId="{48F51EFB-BBD8-406E-A72A-63F164AE87E2}" destId="{FABF1E00-8788-4C82-9CB2-F8AE1E24D9F3}" srcOrd="0" destOrd="0" presId="urn:microsoft.com/office/officeart/2005/8/layout/hierarchy2"/>
    <dgm:cxn modelId="{3F516EC2-DBB6-40E0-8AA2-0C47BA9F3089}" type="presOf" srcId="{BBE8218E-3AB2-410A-97F1-BB23A0584497}" destId="{70B7E869-8545-4EDA-AD24-31C6A6652BAF}" srcOrd="0" destOrd="0" presId="urn:microsoft.com/office/officeart/2005/8/layout/hierarchy2"/>
    <dgm:cxn modelId="{265C61C6-1D93-4AA5-B017-C071AE080A81}" type="presOf" srcId="{C62A26CF-7A9F-4F4F-930C-B0DA5B1343E3}" destId="{152D7CF2-BEBF-4B68-8BA1-CA891AE8EE82}" srcOrd="0" destOrd="0" presId="urn:microsoft.com/office/officeart/2005/8/layout/hierarchy2"/>
    <dgm:cxn modelId="{2B63FF82-6475-488F-9D30-9B7EAE5E1392}" srcId="{8F421544-9C30-4B45-B115-7B3554F7D955}" destId="{066847C3-9961-4F9B-95B5-4ACCFE2983EE}" srcOrd="1" destOrd="0" parTransId="{C62A26CF-7A9F-4F4F-930C-B0DA5B1343E3}" sibTransId="{4F5D0ACB-9BB5-4BB8-ADD1-2E3DA3DF81B4}"/>
    <dgm:cxn modelId="{FC13BD23-5F68-41AC-B675-244179ED992A}" type="presOf" srcId="{268C0F30-0A8B-4DC9-8FDA-A9AB91AA66E9}" destId="{92959400-FA58-49DE-9B60-383E0C0B4891}" srcOrd="0" destOrd="0" presId="urn:microsoft.com/office/officeart/2005/8/layout/hierarchy2"/>
    <dgm:cxn modelId="{09ED4715-1EA0-4B96-A8B9-B7824651DD05}" srcId="{13BB8D8F-6006-4993-B4B1-41B25A0393E4}" destId="{2A2DD10E-CB29-4C73-9DCC-92CC0D6410D6}" srcOrd="0" destOrd="0" parTransId="{01336130-D7B2-4AAB-9D45-92CABD1D7E41}" sibTransId="{EBCAE523-D1E3-4044-B534-9CBFD58DD3D4}"/>
    <dgm:cxn modelId="{5B84A566-4939-4019-B3CA-798222685648}" srcId="{4E80D6CD-3600-4FCA-A5FD-95103287A0AB}" destId="{E2D99889-DBAC-4851-94C2-CC4416E02A05}" srcOrd="1" destOrd="0" parTransId="{2D4905A2-C2C7-449B-ACF2-99AE976E3719}" sibTransId="{82870E0D-D105-45E5-8653-071458E4007E}"/>
    <dgm:cxn modelId="{9A5ABB9D-8136-4C92-8736-2FBC928D38CC}" type="presOf" srcId="{8D443712-30ED-4D2F-AB9F-058E1BFCCDE3}" destId="{8F5B1EDF-CF55-40AD-B23F-06CDEA82A7E9}" srcOrd="1" destOrd="0" presId="urn:microsoft.com/office/officeart/2005/8/layout/hierarchy2"/>
    <dgm:cxn modelId="{D563BACC-C411-413C-B5AB-147CD8D5FD50}" type="presOf" srcId="{2B6EB9D1-D00B-4D40-8934-838FDC67E49C}" destId="{0F3FC4EF-26B3-4DAB-BE0C-123DF19A2986}" srcOrd="0" destOrd="0" presId="urn:microsoft.com/office/officeart/2005/8/layout/hierarchy2"/>
    <dgm:cxn modelId="{B1FA3E53-26D0-481F-A250-3BFEDFAAE4A2}" srcId="{787B8C8F-F759-4061-A4F8-2387580E37B3}" destId="{79CAF3E2-5E8C-4D08-B4D9-15434D310FF0}" srcOrd="0" destOrd="0" parTransId="{268C0F30-0A8B-4DC9-8FDA-A9AB91AA66E9}" sibTransId="{AA603EDD-87FF-41F7-BCF2-D6E1BCAFFEF8}"/>
    <dgm:cxn modelId="{B3437D60-6988-4442-803E-991D7F335504}" srcId="{8F421544-9C30-4B45-B115-7B3554F7D955}" destId="{13BB8D8F-6006-4993-B4B1-41B25A0393E4}" srcOrd="0" destOrd="0" parTransId="{B169ED0D-8AD9-4096-9491-5A90FEA7509D}" sibTransId="{127699E9-59C4-4FB9-919B-FA1C32BBF230}"/>
    <dgm:cxn modelId="{A37E9C2F-9897-4E67-BC4E-824923F2E371}" type="presOf" srcId="{01336130-D7B2-4AAB-9D45-92CABD1D7E41}" destId="{0AE009CA-ED58-4D1F-B466-ED20F7522FF6}" srcOrd="0" destOrd="0" presId="urn:microsoft.com/office/officeart/2005/8/layout/hierarchy2"/>
    <dgm:cxn modelId="{20BEF64A-0F09-470E-8596-604908E25AE0}" type="presOf" srcId="{0D828161-2BFF-46E9-A84D-702F24A711E5}" destId="{B9B2AA38-6237-4C7B-B1EA-5AC5A117BA32}" srcOrd="1" destOrd="0" presId="urn:microsoft.com/office/officeart/2005/8/layout/hierarchy2"/>
    <dgm:cxn modelId="{34D5883B-8541-455A-858C-91C4EEB03DEC}" type="presOf" srcId="{69489ED5-0997-4AB6-BAFE-7DD0EFC3B92A}" destId="{B665C091-EA0A-4E9B-80F2-7CEE23C7E9AC}" srcOrd="1" destOrd="0" presId="urn:microsoft.com/office/officeart/2005/8/layout/hierarchy2"/>
    <dgm:cxn modelId="{0501EA2F-A6EC-498F-99AB-3A8524A5A5E1}" srcId="{E2D99889-DBAC-4851-94C2-CC4416E02A05}" destId="{B11776F8-52D8-4075-897C-3CC417EC7733}" srcOrd="2" destOrd="0" parTransId="{409C8269-E28B-4661-8D4F-641314AE0799}" sibTransId="{50F56996-2FBB-4F57-A141-3C8E05944D25}"/>
    <dgm:cxn modelId="{B98AE2D0-FAD5-4A4F-9617-547C845FBFFC}" type="presOf" srcId="{BBC465DE-EA5E-4695-81DF-E1E4F621C693}" destId="{BEE0C368-91B8-48D3-831F-3DDB6B38913D}" srcOrd="0" destOrd="0" presId="urn:microsoft.com/office/officeart/2005/8/layout/hierarchy2"/>
    <dgm:cxn modelId="{C3444111-D09C-471B-9207-2EAA5C7DCB5F}" type="presOf" srcId="{B70C4D95-2125-45D3-8DAE-A6B21BFB2CEA}" destId="{BF91F129-3136-4D2C-82CC-29EDF1B101A1}" srcOrd="0" destOrd="0" presId="urn:microsoft.com/office/officeart/2005/8/layout/hierarchy2"/>
    <dgm:cxn modelId="{A4A2C0DF-5DC0-42F2-A7B0-F59E9E4B2DBF}" type="presOf" srcId="{E22CADE0-CE5D-4B38-AEDB-BBA2C2F4022C}" destId="{F5B8889A-7B1B-4F9D-98C5-2E2C035A89F8}" srcOrd="0" destOrd="0" presId="urn:microsoft.com/office/officeart/2005/8/layout/hierarchy2"/>
    <dgm:cxn modelId="{A0C13F46-E062-4C0E-85E9-FC8880081EED}" type="presOf" srcId="{9573FCCF-270A-42B0-BBFA-E49E26D4ED4A}" destId="{3DD8C698-6324-4DE9-AE48-5F5657ECFB89}" srcOrd="0" destOrd="0" presId="urn:microsoft.com/office/officeart/2005/8/layout/hierarchy2"/>
    <dgm:cxn modelId="{0AE30762-30A6-45D2-9674-2673D6A13920}" type="presOf" srcId="{D4261C88-1C31-45F5-9DC7-7292802CC2CF}" destId="{DC383ACD-501B-489A-88D4-47CF8EE913BA}" srcOrd="1" destOrd="0" presId="urn:microsoft.com/office/officeart/2005/8/layout/hierarchy2"/>
    <dgm:cxn modelId="{D22AD786-CD0D-4C7A-BA47-E9D3C866C8FC}" type="presOf" srcId="{9573FCCF-270A-42B0-BBFA-E49E26D4ED4A}" destId="{E55686D1-AE08-4486-A763-0C72314CED73}" srcOrd="1" destOrd="0" presId="urn:microsoft.com/office/officeart/2005/8/layout/hierarchy2"/>
    <dgm:cxn modelId="{9564CFC2-62C6-4391-888A-41F522252E94}" type="presOf" srcId="{409C8269-E28B-4661-8D4F-641314AE0799}" destId="{51051FA0-EBE6-42E4-819E-6C0ADF23D25C}" srcOrd="0" destOrd="0" presId="urn:microsoft.com/office/officeart/2005/8/layout/hierarchy2"/>
    <dgm:cxn modelId="{C4E222DF-332B-4DA5-AE32-37BDA9E8E93B}" type="presOf" srcId="{20C2177F-4D66-4A48-A3EC-44E4A2EF37B7}" destId="{6DF9D2E0-C316-43E8-A78F-CE33559BD554}" srcOrd="0" destOrd="0" presId="urn:microsoft.com/office/officeart/2005/8/layout/hierarchy2"/>
    <dgm:cxn modelId="{BFBCF976-77F9-4737-B3F2-6DF4ED9121DF}" type="presOf" srcId="{8D443712-30ED-4D2F-AB9F-058E1BFCCDE3}" destId="{59F1D322-558D-450A-A929-52E4E01CE295}" srcOrd="0" destOrd="0" presId="urn:microsoft.com/office/officeart/2005/8/layout/hierarchy2"/>
    <dgm:cxn modelId="{64B41ECD-0B98-41A6-9BE3-5A5C5AD79814}" type="presOf" srcId="{51207153-A575-4B1B-8926-56C947E2770B}" destId="{401F1E79-8CFF-4AED-B9CF-93917D43A069}" srcOrd="1" destOrd="0" presId="urn:microsoft.com/office/officeart/2005/8/layout/hierarchy2"/>
    <dgm:cxn modelId="{D3A3B21B-9CE2-47E1-BE13-44C8C4A7C17A}" srcId="{4E80D6CD-3600-4FCA-A5FD-95103287A0AB}" destId="{282D3B29-2040-473B-A1E2-1E8168E083D4}" srcOrd="0" destOrd="0" parTransId="{E22CADE0-CE5D-4B38-AEDB-BBA2C2F4022C}" sibTransId="{159DAFD2-0F1E-4239-918F-689216B449FE}"/>
    <dgm:cxn modelId="{4526D188-CF5A-43B7-916E-9C474C04DB62}" type="presOf" srcId="{5C66B06C-7AEB-4E34-8C40-FA2C445F236D}" destId="{17D741D1-51C6-474C-989B-F35EDCC94D35}" srcOrd="1" destOrd="0" presId="urn:microsoft.com/office/officeart/2005/8/layout/hierarchy2"/>
    <dgm:cxn modelId="{15B18398-7A07-42F2-B99C-8EFD442E66B4}" type="presOf" srcId="{2D4905A2-C2C7-449B-ACF2-99AE976E3719}" destId="{10AAFFCB-281E-4641-869C-8335F4987E44}" srcOrd="1" destOrd="0" presId="urn:microsoft.com/office/officeart/2005/8/layout/hierarchy2"/>
    <dgm:cxn modelId="{F9625736-FA4A-4836-A108-13165009DC9D}" type="presOf" srcId="{409C8269-E28B-4661-8D4F-641314AE0799}" destId="{BA0E4883-49EE-47DB-AB7B-6EF78E423766}" srcOrd="1" destOrd="0" presId="urn:microsoft.com/office/officeart/2005/8/layout/hierarchy2"/>
    <dgm:cxn modelId="{079FE29A-96C6-4229-851E-2D8C67B0B458}" type="presOf" srcId="{5C66B06C-7AEB-4E34-8C40-FA2C445F236D}" destId="{6A2E57C2-1CE8-4AE0-94DB-88B7AC381AEC}" srcOrd="0" destOrd="0" presId="urn:microsoft.com/office/officeart/2005/8/layout/hierarchy2"/>
    <dgm:cxn modelId="{F72CFDA9-B012-42B5-9AEE-2E2AF8025115}" srcId="{1671B4C5-0E44-4C6A-BA0B-5D1816DFE43A}" destId="{4E80D6CD-3600-4FCA-A5FD-95103287A0AB}" srcOrd="0" destOrd="0" parTransId="{BBC465DE-EA5E-4695-81DF-E1E4F621C693}" sibTransId="{6CC2D89B-53A5-40AE-A6B9-B50A6B8AF18B}"/>
    <dgm:cxn modelId="{0CFAF3F4-7825-4B76-9EF2-54C610326578}" type="presOf" srcId="{B11776F8-52D8-4075-897C-3CC417EC7733}" destId="{1AA402FD-DE7A-4063-A27A-4C47CE3CE05F}" srcOrd="0" destOrd="0" presId="urn:microsoft.com/office/officeart/2005/8/layout/hierarchy2"/>
    <dgm:cxn modelId="{943949E3-58E0-46EA-BD54-2AA0B1D0C4B6}" type="presOf" srcId="{13BB8D8F-6006-4993-B4B1-41B25A0393E4}" destId="{923F666F-6797-4617-A4B3-E95BC3AFDBDE}" srcOrd="0" destOrd="0" presId="urn:microsoft.com/office/officeart/2005/8/layout/hierarchy2"/>
    <dgm:cxn modelId="{87FAB733-0E71-45F4-A681-746C53B4CE7A}" srcId="{066847C3-9961-4F9B-95B5-4ACCFE2983EE}" destId="{2B6EB9D1-D00B-4D40-8934-838FDC67E49C}" srcOrd="0" destOrd="0" parTransId="{C1C9207D-3615-4A58-B4D2-FA0B8EC0C126}" sibTransId="{70FA08C8-FDFC-4BD6-8A71-9C5BD4540755}"/>
    <dgm:cxn modelId="{DC630B1B-90C2-4A3B-AC92-B1F3289CD042}" type="presOf" srcId="{282D3B29-2040-473B-A1E2-1E8168E083D4}" destId="{DCF87C6C-4673-4999-B978-B00853CE058F}" srcOrd="0" destOrd="0" presId="urn:microsoft.com/office/officeart/2005/8/layout/hierarchy2"/>
    <dgm:cxn modelId="{5CD73BF4-8C20-4F36-A376-33D85BC59909}" type="presOf" srcId="{B169ED0D-8AD9-4096-9491-5A90FEA7509D}" destId="{91F0A133-7364-4E28-A937-3840A4A8566D}" srcOrd="0" destOrd="0" presId="urn:microsoft.com/office/officeart/2005/8/layout/hierarchy2"/>
    <dgm:cxn modelId="{19BA086D-ADCE-4834-BB4A-956BCF52AA78}" type="presOf" srcId="{EB1E61D1-62F1-4E11-B0BB-DEF045323105}" destId="{169029AB-4BED-4D6E-BF0F-D76AA25FBC10}" srcOrd="0" destOrd="0" presId="urn:microsoft.com/office/officeart/2005/8/layout/hierarchy2"/>
    <dgm:cxn modelId="{402C2BB5-3BE0-4DF7-8827-8E4BDE3B074E}" type="presOf" srcId="{066847C3-9961-4F9B-95B5-4ACCFE2983EE}" destId="{1CF30EF4-9E2D-4192-9553-C5AADE99BB21}" srcOrd="0" destOrd="0" presId="urn:microsoft.com/office/officeart/2005/8/layout/hierarchy2"/>
    <dgm:cxn modelId="{33257B20-2D04-4B58-992E-8237348C5AA8}" type="presOf" srcId="{1671B4C5-0E44-4C6A-BA0B-5D1816DFE43A}" destId="{8B15C89B-F956-401A-9384-4002ABF58DC6}" srcOrd="0" destOrd="0" presId="urn:microsoft.com/office/officeart/2005/8/layout/hierarchy2"/>
    <dgm:cxn modelId="{3AB0DF6F-080B-4ADF-B582-79B6F3A421DE}" type="presOf" srcId="{D65C9D05-5A23-46ED-80AC-83D014BBB041}" destId="{364D744A-4F76-4F99-8A19-C5B282EC2BF1}" srcOrd="0" destOrd="0" presId="urn:microsoft.com/office/officeart/2005/8/layout/hierarchy2"/>
    <dgm:cxn modelId="{8D50C039-C8B9-4AEA-86C4-0EB417E86345}" srcId="{E2D99889-DBAC-4851-94C2-CC4416E02A05}" destId="{D65C9D05-5A23-46ED-80AC-83D014BBB041}" srcOrd="3" destOrd="0" parTransId="{8D443712-30ED-4D2F-AB9F-058E1BFCCDE3}" sibTransId="{89906767-F595-43BC-AAD9-7A44CAB5BE0D}"/>
    <dgm:cxn modelId="{23B1ABBA-847B-4457-A9E2-42A60043F2EA}" type="presOf" srcId="{787B8C8F-F759-4061-A4F8-2387580E37B3}" destId="{CCD897E1-2F98-405B-A7A8-39DC790F444D}" srcOrd="0" destOrd="0" presId="urn:microsoft.com/office/officeart/2005/8/layout/hierarchy2"/>
    <dgm:cxn modelId="{B70A6525-2131-448F-AFED-3A39318CA19B}" srcId="{787B8C8F-F759-4061-A4F8-2387580E37B3}" destId="{20C2177F-4D66-4A48-A3EC-44E4A2EF37B7}" srcOrd="1" destOrd="0" parTransId="{5C66B06C-7AEB-4E34-8C40-FA2C445F236D}" sibTransId="{A83A1DA2-7347-440C-B089-8F039F1DF51D}"/>
    <dgm:cxn modelId="{03DAF739-CCB3-4815-90AF-FE7149A1889E}" type="presOf" srcId="{51207153-A575-4B1B-8926-56C947E2770B}" destId="{9E52A342-C8AC-4C1A-A133-9559F825132C}" srcOrd="0" destOrd="0" presId="urn:microsoft.com/office/officeart/2005/8/layout/hierarchy2"/>
    <dgm:cxn modelId="{A7883488-79F5-46C1-AD13-E4EFF9ABA731}" type="presOf" srcId="{E016CF65-EB69-4639-B16E-2FC8D7006F13}" destId="{248DBC5F-FFCA-44FC-9277-1DDC0DC48B90}" srcOrd="0" destOrd="0" presId="urn:microsoft.com/office/officeart/2005/8/layout/hierarchy2"/>
    <dgm:cxn modelId="{9F3011A8-AA3C-4E03-B064-8682802E84DD}" srcId="{1671B4C5-0E44-4C6A-BA0B-5D1816DFE43A}" destId="{8F421544-9C30-4B45-B115-7B3554F7D955}" srcOrd="1" destOrd="0" parTransId="{DF04D7C5-92CC-4F12-B20C-3D4CE31CB2BF}" sibTransId="{A62E0944-42E9-419B-A3E5-37BBBF20F543}"/>
    <dgm:cxn modelId="{5015B477-0292-4B19-B239-26FB3DBA7900}" srcId="{282D3B29-2040-473B-A1E2-1E8168E083D4}" destId="{B70C4D95-2125-45D3-8DAE-A6B21BFB2CEA}" srcOrd="0" destOrd="0" parTransId="{D4261C88-1C31-45F5-9DC7-7292802CC2CF}" sibTransId="{BB7FD429-50DE-4D86-9638-271A93ED1FFF}"/>
    <dgm:cxn modelId="{077DF447-4BA2-45C3-BE54-29223C07ECD0}" type="presOf" srcId="{01336130-D7B2-4AAB-9D45-92CABD1D7E41}" destId="{5347BD64-BF9F-45DC-AE35-5E03E9086E53}" srcOrd="1" destOrd="0" presId="urn:microsoft.com/office/officeart/2005/8/layout/hierarchy2"/>
    <dgm:cxn modelId="{98803A15-D039-4668-949E-F366000192AA}" type="presOf" srcId="{210EBAAB-D2C3-4D05-A961-DA4FEFC8C644}" destId="{1B9517F6-55E5-49EB-AE3C-38D105B67383}" srcOrd="1" destOrd="0" presId="urn:microsoft.com/office/officeart/2005/8/layout/hierarchy2"/>
    <dgm:cxn modelId="{B39E8101-F87F-4695-8437-A96340DDEDC5}" type="presOf" srcId="{268C0F30-0A8B-4DC9-8FDA-A9AB91AA66E9}" destId="{6246DDA2-EF36-4CFE-9C07-A2990843225D}" srcOrd="1" destOrd="0" presId="urn:microsoft.com/office/officeart/2005/8/layout/hierarchy2"/>
    <dgm:cxn modelId="{5311D68C-46F0-486B-9ECC-F5AA3C8B27E1}" type="presOf" srcId="{4A00A3ED-34DF-43CD-A3BB-5BE885ABCA92}" destId="{02213183-F816-4C0A-B799-A1D00BD57F3D}" srcOrd="1" destOrd="0" presId="urn:microsoft.com/office/officeart/2005/8/layout/hierarchy2"/>
    <dgm:cxn modelId="{462FFAB2-EA0B-4FD0-9AA7-068B153B14B6}" type="presOf" srcId="{983E4D93-8A6C-49DD-91DC-E1F2855E59F9}" destId="{F0AF7C63-306A-4B9E-9EA9-840710DC07E9}" srcOrd="0" destOrd="0" presId="urn:microsoft.com/office/officeart/2005/8/layout/hierarchy2"/>
    <dgm:cxn modelId="{8B602573-927A-4D5D-BF3C-ADCF164226E3}" type="presOf" srcId="{79CAF3E2-5E8C-4D08-B4D9-15434D310FF0}" destId="{30D88C84-24C4-4240-A0FD-D4204D1F4795}" srcOrd="0" destOrd="0" presId="urn:microsoft.com/office/officeart/2005/8/layout/hierarchy2"/>
    <dgm:cxn modelId="{10390724-6FC3-4170-A61E-CD6786388907}" type="presOf" srcId="{D4261C88-1C31-45F5-9DC7-7292802CC2CF}" destId="{5B57114C-2C34-4017-97D5-4F3C660FE8A4}" srcOrd="0" destOrd="0" presId="urn:microsoft.com/office/officeart/2005/8/layout/hierarchy2"/>
    <dgm:cxn modelId="{534D864B-FD7A-4385-9B28-887AF31DEA91}" type="presParOf" srcId="{169029AB-4BED-4D6E-BF0F-D76AA25FBC10}" destId="{13817CD0-5956-43A3-8D29-E1C0E66C99E0}" srcOrd="0" destOrd="0" presId="urn:microsoft.com/office/officeart/2005/8/layout/hierarchy2"/>
    <dgm:cxn modelId="{C67064B5-867E-45AF-8EEB-7EF0ED3E6547}" type="presParOf" srcId="{13817CD0-5956-43A3-8D29-E1C0E66C99E0}" destId="{8B15C89B-F956-401A-9384-4002ABF58DC6}" srcOrd="0" destOrd="0" presId="urn:microsoft.com/office/officeart/2005/8/layout/hierarchy2"/>
    <dgm:cxn modelId="{000D9E91-CBBC-49D4-AE1F-C372737196F2}" type="presParOf" srcId="{13817CD0-5956-43A3-8D29-E1C0E66C99E0}" destId="{D87CF0F4-291B-4BEC-A194-810053B5DD9D}" srcOrd="1" destOrd="0" presId="urn:microsoft.com/office/officeart/2005/8/layout/hierarchy2"/>
    <dgm:cxn modelId="{FF167DF8-F2A0-4B2E-B212-40DD7AC6F4F1}" type="presParOf" srcId="{D87CF0F4-291B-4BEC-A194-810053B5DD9D}" destId="{BEE0C368-91B8-48D3-831F-3DDB6B38913D}" srcOrd="0" destOrd="0" presId="urn:microsoft.com/office/officeart/2005/8/layout/hierarchy2"/>
    <dgm:cxn modelId="{CF89A28C-CED7-4938-A967-EBDDBAB0B5F0}" type="presParOf" srcId="{BEE0C368-91B8-48D3-831F-3DDB6B38913D}" destId="{06142FF9-68B5-4FA7-86FD-777CA84CDF52}" srcOrd="0" destOrd="0" presId="urn:microsoft.com/office/officeart/2005/8/layout/hierarchy2"/>
    <dgm:cxn modelId="{C20E8892-4019-42D2-9C61-271B43453E46}" type="presParOf" srcId="{D87CF0F4-291B-4BEC-A194-810053B5DD9D}" destId="{588EAFA3-E06E-4F58-9D7E-798EE3EA86F3}" srcOrd="1" destOrd="0" presId="urn:microsoft.com/office/officeart/2005/8/layout/hierarchy2"/>
    <dgm:cxn modelId="{41CD4279-1398-4945-B1E2-41BE89DCDA6B}" type="presParOf" srcId="{588EAFA3-E06E-4F58-9D7E-798EE3EA86F3}" destId="{996557FD-C474-45C3-8F35-8C7909C65C2A}" srcOrd="0" destOrd="0" presId="urn:microsoft.com/office/officeart/2005/8/layout/hierarchy2"/>
    <dgm:cxn modelId="{E20E76EA-DEA6-478B-BF05-36C73D48B688}" type="presParOf" srcId="{588EAFA3-E06E-4F58-9D7E-798EE3EA86F3}" destId="{CBB92B7C-8E08-4E6F-9B85-B0C76A1A1FA9}" srcOrd="1" destOrd="0" presId="urn:microsoft.com/office/officeart/2005/8/layout/hierarchy2"/>
    <dgm:cxn modelId="{5160BE9C-22F9-41DE-947C-6608BE3C0DFF}" type="presParOf" srcId="{CBB92B7C-8E08-4E6F-9B85-B0C76A1A1FA9}" destId="{F5B8889A-7B1B-4F9D-98C5-2E2C035A89F8}" srcOrd="0" destOrd="0" presId="urn:microsoft.com/office/officeart/2005/8/layout/hierarchy2"/>
    <dgm:cxn modelId="{BC8645F9-D538-4F6F-82A9-D2FFBF6FBB4E}" type="presParOf" srcId="{F5B8889A-7B1B-4F9D-98C5-2E2C035A89F8}" destId="{69E8D460-63C2-4AED-BFD1-64B4F1357159}" srcOrd="0" destOrd="0" presId="urn:microsoft.com/office/officeart/2005/8/layout/hierarchy2"/>
    <dgm:cxn modelId="{B71A3913-42EB-47A8-B6AA-71AE3BA69939}" type="presParOf" srcId="{CBB92B7C-8E08-4E6F-9B85-B0C76A1A1FA9}" destId="{93377404-C681-4A60-A674-225A462D39B9}" srcOrd="1" destOrd="0" presId="urn:microsoft.com/office/officeart/2005/8/layout/hierarchy2"/>
    <dgm:cxn modelId="{20B03D00-932C-4A5E-8355-25BE6AF3258A}" type="presParOf" srcId="{93377404-C681-4A60-A674-225A462D39B9}" destId="{DCF87C6C-4673-4999-B978-B00853CE058F}" srcOrd="0" destOrd="0" presId="urn:microsoft.com/office/officeart/2005/8/layout/hierarchy2"/>
    <dgm:cxn modelId="{6DAAEBA3-770D-44A1-9F14-82E93E3496EE}" type="presParOf" srcId="{93377404-C681-4A60-A674-225A462D39B9}" destId="{14C95F02-042F-48FE-B555-CB6FBB7B3C92}" srcOrd="1" destOrd="0" presId="urn:microsoft.com/office/officeart/2005/8/layout/hierarchy2"/>
    <dgm:cxn modelId="{9413183B-5CEE-495B-B04A-623616E316DE}" type="presParOf" srcId="{14C95F02-042F-48FE-B555-CB6FBB7B3C92}" destId="{5B57114C-2C34-4017-97D5-4F3C660FE8A4}" srcOrd="0" destOrd="0" presId="urn:microsoft.com/office/officeart/2005/8/layout/hierarchy2"/>
    <dgm:cxn modelId="{9F5AF20E-F45A-4A8C-8EA2-B15EE1520AC4}" type="presParOf" srcId="{5B57114C-2C34-4017-97D5-4F3C660FE8A4}" destId="{DC383ACD-501B-489A-88D4-47CF8EE913BA}" srcOrd="0" destOrd="0" presId="urn:microsoft.com/office/officeart/2005/8/layout/hierarchy2"/>
    <dgm:cxn modelId="{9B758FC0-31B4-403F-8EDF-280F90AEC9F8}" type="presParOf" srcId="{14C95F02-042F-48FE-B555-CB6FBB7B3C92}" destId="{38061A42-A15B-4249-98F5-F48C1422B7B7}" srcOrd="1" destOrd="0" presId="urn:microsoft.com/office/officeart/2005/8/layout/hierarchy2"/>
    <dgm:cxn modelId="{7781AF0E-30C0-43B3-85C5-19FA3CA76049}" type="presParOf" srcId="{38061A42-A15B-4249-98F5-F48C1422B7B7}" destId="{BF91F129-3136-4D2C-82CC-29EDF1B101A1}" srcOrd="0" destOrd="0" presId="urn:microsoft.com/office/officeart/2005/8/layout/hierarchy2"/>
    <dgm:cxn modelId="{E573896D-0344-4F80-9F31-C85FAE78A23D}" type="presParOf" srcId="{38061A42-A15B-4249-98F5-F48C1422B7B7}" destId="{9E66153E-1944-42D4-ACC2-0AB309E8E555}" srcOrd="1" destOrd="0" presId="urn:microsoft.com/office/officeart/2005/8/layout/hierarchy2"/>
    <dgm:cxn modelId="{654607F0-4342-449A-B36A-2237BB0E47FB}" type="presParOf" srcId="{14C95F02-042F-48FE-B555-CB6FBB7B3C92}" destId="{3DD8C698-6324-4DE9-AE48-5F5657ECFB89}" srcOrd="2" destOrd="0" presId="urn:microsoft.com/office/officeart/2005/8/layout/hierarchy2"/>
    <dgm:cxn modelId="{578252F0-E5F7-44CE-919A-7C57A5CCB822}" type="presParOf" srcId="{3DD8C698-6324-4DE9-AE48-5F5657ECFB89}" destId="{E55686D1-AE08-4486-A763-0C72314CED73}" srcOrd="0" destOrd="0" presId="urn:microsoft.com/office/officeart/2005/8/layout/hierarchy2"/>
    <dgm:cxn modelId="{9954B35B-DD98-4BE3-B0B5-FE01A383E751}" type="presParOf" srcId="{14C95F02-042F-48FE-B555-CB6FBB7B3C92}" destId="{EF7C2EEE-5A27-4331-9DF1-DDBE34F9BDCF}" srcOrd="3" destOrd="0" presId="urn:microsoft.com/office/officeart/2005/8/layout/hierarchy2"/>
    <dgm:cxn modelId="{7D0A3665-FE6B-4FC9-B529-37C5034923D6}" type="presParOf" srcId="{EF7C2EEE-5A27-4331-9DF1-DDBE34F9BDCF}" destId="{248DBC5F-FFCA-44FC-9277-1DDC0DC48B90}" srcOrd="0" destOrd="0" presId="urn:microsoft.com/office/officeart/2005/8/layout/hierarchy2"/>
    <dgm:cxn modelId="{E3846815-6332-406C-A0FC-7B2DA329093A}" type="presParOf" srcId="{EF7C2EEE-5A27-4331-9DF1-DDBE34F9BDCF}" destId="{2762FF87-D500-42A1-8ED5-D77E8C5A908A}" srcOrd="1" destOrd="0" presId="urn:microsoft.com/office/officeart/2005/8/layout/hierarchy2"/>
    <dgm:cxn modelId="{CA8857C8-3B31-462C-B8B9-85F70E07C0E5}" type="presParOf" srcId="{CBB92B7C-8E08-4E6F-9B85-B0C76A1A1FA9}" destId="{A824E9E1-3975-48DD-8BB1-16379DF79407}" srcOrd="2" destOrd="0" presId="urn:microsoft.com/office/officeart/2005/8/layout/hierarchy2"/>
    <dgm:cxn modelId="{76785C93-37FF-4C2E-93E4-F60535C08873}" type="presParOf" srcId="{A824E9E1-3975-48DD-8BB1-16379DF79407}" destId="{10AAFFCB-281E-4641-869C-8335F4987E44}" srcOrd="0" destOrd="0" presId="urn:microsoft.com/office/officeart/2005/8/layout/hierarchy2"/>
    <dgm:cxn modelId="{3A424BBB-1771-4D6F-9D65-49FB92024522}" type="presParOf" srcId="{CBB92B7C-8E08-4E6F-9B85-B0C76A1A1FA9}" destId="{8D3E9237-F01A-4ACD-A0BE-9DE2F1181A61}" srcOrd="3" destOrd="0" presId="urn:microsoft.com/office/officeart/2005/8/layout/hierarchy2"/>
    <dgm:cxn modelId="{C5CAA9FE-7BF1-494E-9001-5802F6393D60}" type="presParOf" srcId="{8D3E9237-F01A-4ACD-A0BE-9DE2F1181A61}" destId="{FB982F87-6F35-43D6-841E-51788810657E}" srcOrd="0" destOrd="0" presId="urn:microsoft.com/office/officeart/2005/8/layout/hierarchy2"/>
    <dgm:cxn modelId="{79F37709-4A47-4ADA-83C3-0C100DA0D8A8}" type="presParOf" srcId="{8D3E9237-F01A-4ACD-A0BE-9DE2F1181A61}" destId="{BBC94F6D-4524-4DFB-8343-272A0FFAFA96}" srcOrd="1" destOrd="0" presId="urn:microsoft.com/office/officeart/2005/8/layout/hierarchy2"/>
    <dgm:cxn modelId="{938819DD-C8CA-4ED9-BBA7-5B546E08C24F}" type="presParOf" srcId="{BBC94F6D-4524-4DFB-8343-272A0FFAFA96}" destId="{9E52A342-C8AC-4C1A-A133-9559F825132C}" srcOrd="0" destOrd="0" presId="urn:microsoft.com/office/officeart/2005/8/layout/hierarchy2"/>
    <dgm:cxn modelId="{DBEFB468-DAB5-4697-8E4F-F4A98F3DD20D}" type="presParOf" srcId="{9E52A342-C8AC-4C1A-A133-9559F825132C}" destId="{401F1E79-8CFF-4AED-B9CF-93917D43A069}" srcOrd="0" destOrd="0" presId="urn:microsoft.com/office/officeart/2005/8/layout/hierarchy2"/>
    <dgm:cxn modelId="{033E24BC-D96D-4038-A749-AF71BBB40D1E}" type="presParOf" srcId="{BBC94F6D-4524-4DFB-8343-272A0FFAFA96}" destId="{A8071BD8-AD9D-4995-A11C-B23578909675}" srcOrd="1" destOrd="0" presId="urn:microsoft.com/office/officeart/2005/8/layout/hierarchy2"/>
    <dgm:cxn modelId="{90BFA89E-EA2C-435F-986F-6763940721FE}" type="presParOf" srcId="{A8071BD8-AD9D-4995-A11C-B23578909675}" destId="{F0AF7C63-306A-4B9E-9EA9-840710DC07E9}" srcOrd="0" destOrd="0" presId="urn:microsoft.com/office/officeart/2005/8/layout/hierarchy2"/>
    <dgm:cxn modelId="{C44E6D2D-9985-491A-ADB5-2BF0B786972A}" type="presParOf" srcId="{A8071BD8-AD9D-4995-A11C-B23578909675}" destId="{308F9512-B43A-4943-8D7B-E8109B044F4E}" srcOrd="1" destOrd="0" presId="urn:microsoft.com/office/officeart/2005/8/layout/hierarchy2"/>
    <dgm:cxn modelId="{C8D9C490-EC83-4BC3-9DEA-CD2513B7B4E9}" type="presParOf" srcId="{BBC94F6D-4524-4DFB-8343-272A0FFAFA96}" destId="{1D098C42-FEE2-41DB-9A19-AAC29FF3BCDF}" srcOrd="2" destOrd="0" presId="urn:microsoft.com/office/officeart/2005/8/layout/hierarchy2"/>
    <dgm:cxn modelId="{852A3E3D-A49E-4D21-9DED-8B50E499F6DD}" type="presParOf" srcId="{1D098C42-FEE2-41DB-9A19-AAC29FF3BCDF}" destId="{02213183-F816-4C0A-B799-A1D00BD57F3D}" srcOrd="0" destOrd="0" presId="urn:microsoft.com/office/officeart/2005/8/layout/hierarchy2"/>
    <dgm:cxn modelId="{46E51BBA-BD27-482E-8FB6-ADA9E7C81565}" type="presParOf" srcId="{BBC94F6D-4524-4DFB-8343-272A0FFAFA96}" destId="{961A06B1-249E-4B84-B7F4-19BE88F9A55D}" srcOrd="3" destOrd="0" presId="urn:microsoft.com/office/officeart/2005/8/layout/hierarchy2"/>
    <dgm:cxn modelId="{2B112CE3-D334-42CA-939D-F7EC3DA0E491}" type="presParOf" srcId="{961A06B1-249E-4B84-B7F4-19BE88F9A55D}" destId="{70B7E869-8545-4EDA-AD24-31C6A6652BAF}" srcOrd="0" destOrd="0" presId="urn:microsoft.com/office/officeart/2005/8/layout/hierarchy2"/>
    <dgm:cxn modelId="{88CE4BC5-B269-4C99-88BD-7A741305B2CE}" type="presParOf" srcId="{961A06B1-249E-4B84-B7F4-19BE88F9A55D}" destId="{806C60F7-C1CC-4470-AB13-CE4AD2BDD94B}" srcOrd="1" destOrd="0" presId="urn:microsoft.com/office/officeart/2005/8/layout/hierarchy2"/>
    <dgm:cxn modelId="{80184FC8-C058-495D-8004-4F889C3CCD0A}" type="presParOf" srcId="{BBC94F6D-4524-4DFB-8343-272A0FFAFA96}" destId="{51051FA0-EBE6-42E4-819E-6C0ADF23D25C}" srcOrd="4" destOrd="0" presId="urn:microsoft.com/office/officeart/2005/8/layout/hierarchy2"/>
    <dgm:cxn modelId="{722A4965-B4FB-4107-B8C9-D8FB034282FE}" type="presParOf" srcId="{51051FA0-EBE6-42E4-819E-6C0ADF23D25C}" destId="{BA0E4883-49EE-47DB-AB7B-6EF78E423766}" srcOrd="0" destOrd="0" presId="urn:microsoft.com/office/officeart/2005/8/layout/hierarchy2"/>
    <dgm:cxn modelId="{2E0AC50C-EEA4-419C-937A-BE206C63D104}" type="presParOf" srcId="{BBC94F6D-4524-4DFB-8343-272A0FFAFA96}" destId="{3D644743-01B9-40C3-AE0F-A0E26193452E}" srcOrd="5" destOrd="0" presId="urn:microsoft.com/office/officeart/2005/8/layout/hierarchy2"/>
    <dgm:cxn modelId="{3071A38B-D7D4-41D0-9C47-BFFF3BABDAB2}" type="presParOf" srcId="{3D644743-01B9-40C3-AE0F-A0E26193452E}" destId="{1AA402FD-DE7A-4063-A27A-4C47CE3CE05F}" srcOrd="0" destOrd="0" presId="urn:microsoft.com/office/officeart/2005/8/layout/hierarchy2"/>
    <dgm:cxn modelId="{8943E37B-1DC7-40E9-97DD-A39CABCB492D}" type="presParOf" srcId="{3D644743-01B9-40C3-AE0F-A0E26193452E}" destId="{A17AAC2E-D137-40CE-9300-1AB2ADBBCE14}" srcOrd="1" destOrd="0" presId="urn:microsoft.com/office/officeart/2005/8/layout/hierarchy2"/>
    <dgm:cxn modelId="{C1023582-4FEF-4500-97B8-0ED392D56481}" type="presParOf" srcId="{BBC94F6D-4524-4DFB-8343-272A0FFAFA96}" destId="{59F1D322-558D-450A-A929-52E4E01CE295}" srcOrd="6" destOrd="0" presId="urn:microsoft.com/office/officeart/2005/8/layout/hierarchy2"/>
    <dgm:cxn modelId="{3C43D66D-62E7-4993-A0F8-FB9C2976C1FC}" type="presParOf" srcId="{59F1D322-558D-450A-A929-52E4E01CE295}" destId="{8F5B1EDF-CF55-40AD-B23F-06CDEA82A7E9}" srcOrd="0" destOrd="0" presId="urn:microsoft.com/office/officeart/2005/8/layout/hierarchy2"/>
    <dgm:cxn modelId="{DB4E97CC-E88A-486E-A5AC-6C01A697781E}" type="presParOf" srcId="{BBC94F6D-4524-4DFB-8343-272A0FFAFA96}" destId="{062E0D01-2A5A-47F1-B718-7460009B2205}" srcOrd="7" destOrd="0" presId="urn:microsoft.com/office/officeart/2005/8/layout/hierarchy2"/>
    <dgm:cxn modelId="{C3298D45-7709-4298-90C4-04AD7797CBA9}" type="presParOf" srcId="{062E0D01-2A5A-47F1-B718-7460009B2205}" destId="{364D744A-4F76-4F99-8A19-C5B282EC2BF1}" srcOrd="0" destOrd="0" presId="urn:microsoft.com/office/officeart/2005/8/layout/hierarchy2"/>
    <dgm:cxn modelId="{A5861E0B-97F5-4DC2-9094-C130A12446B5}" type="presParOf" srcId="{062E0D01-2A5A-47F1-B718-7460009B2205}" destId="{DB3336B9-B88B-4632-925B-337FE3247B68}" srcOrd="1" destOrd="0" presId="urn:microsoft.com/office/officeart/2005/8/layout/hierarchy2"/>
    <dgm:cxn modelId="{CAFD21EB-0D29-4AE3-A1EF-A54BD8882D48}" type="presParOf" srcId="{D87CF0F4-291B-4BEC-A194-810053B5DD9D}" destId="{7BED4291-AE65-4D64-84B1-4B65212D7EAE}" srcOrd="2" destOrd="0" presId="urn:microsoft.com/office/officeart/2005/8/layout/hierarchy2"/>
    <dgm:cxn modelId="{F7CE9E70-B664-4177-88A9-3CC0970F9953}" type="presParOf" srcId="{7BED4291-AE65-4D64-84B1-4B65212D7EAE}" destId="{B04FF750-324D-4CF9-9208-C6B7E361C2A7}" srcOrd="0" destOrd="0" presId="urn:microsoft.com/office/officeart/2005/8/layout/hierarchy2"/>
    <dgm:cxn modelId="{A1FDFDD1-32A3-4D4B-A9E4-A73472A276D6}" type="presParOf" srcId="{D87CF0F4-291B-4BEC-A194-810053B5DD9D}" destId="{DA379B7E-5F4A-4EB0-84B1-98A2BDEA78E9}" srcOrd="3" destOrd="0" presId="urn:microsoft.com/office/officeart/2005/8/layout/hierarchy2"/>
    <dgm:cxn modelId="{85210F4D-F41F-4414-A10B-4DD6389D05B9}" type="presParOf" srcId="{DA379B7E-5F4A-4EB0-84B1-98A2BDEA78E9}" destId="{7D70A0D2-0F7E-4C34-BF69-5AA97D384028}" srcOrd="0" destOrd="0" presId="urn:microsoft.com/office/officeart/2005/8/layout/hierarchy2"/>
    <dgm:cxn modelId="{30A4B643-FE16-4BF9-AEE4-3C83D40D759C}" type="presParOf" srcId="{DA379B7E-5F4A-4EB0-84B1-98A2BDEA78E9}" destId="{F77E0828-22BC-4AF4-B2A9-5AFA11434967}" srcOrd="1" destOrd="0" presId="urn:microsoft.com/office/officeart/2005/8/layout/hierarchy2"/>
    <dgm:cxn modelId="{05A73126-C000-47E6-9FB5-8940425C78DE}" type="presParOf" srcId="{F77E0828-22BC-4AF4-B2A9-5AFA11434967}" destId="{91F0A133-7364-4E28-A937-3840A4A8566D}" srcOrd="0" destOrd="0" presId="urn:microsoft.com/office/officeart/2005/8/layout/hierarchy2"/>
    <dgm:cxn modelId="{853FC8D1-142A-4E43-B653-04A5623B074E}" type="presParOf" srcId="{91F0A133-7364-4E28-A937-3840A4A8566D}" destId="{409EBD57-90AB-4F2A-B2B4-562032BE87FE}" srcOrd="0" destOrd="0" presId="urn:microsoft.com/office/officeart/2005/8/layout/hierarchy2"/>
    <dgm:cxn modelId="{03F85CD3-29EE-4895-8848-56C1DC95C7A4}" type="presParOf" srcId="{F77E0828-22BC-4AF4-B2A9-5AFA11434967}" destId="{3B207DAB-E032-431C-9A3F-4DFF1C1B6F34}" srcOrd="1" destOrd="0" presId="urn:microsoft.com/office/officeart/2005/8/layout/hierarchy2"/>
    <dgm:cxn modelId="{B3A7E99B-1586-4F3B-BFCA-6CE92F56FBA8}" type="presParOf" srcId="{3B207DAB-E032-431C-9A3F-4DFF1C1B6F34}" destId="{923F666F-6797-4617-A4B3-E95BC3AFDBDE}" srcOrd="0" destOrd="0" presId="urn:microsoft.com/office/officeart/2005/8/layout/hierarchy2"/>
    <dgm:cxn modelId="{C0D765EC-A1F1-47C5-B245-9C02B8500469}" type="presParOf" srcId="{3B207DAB-E032-431C-9A3F-4DFF1C1B6F34}" destId="{FFB2649E-5390-48AC-AEF1-E08CDCD4D8D8}" srcOrd="1" destOrd="0" presId="urn:microsoft.com/office/officeart/2005/8/layout/hierarchy2"/>
    <dgm:cxn modelId="{412FAA6A-D5CF-4FA2-822B-7CFDB44A7A0A}" type="presParOf" srcId="{FFB2649E-5390-48AC-AEF1-E08CDCD4D8D8}" destId="{0AE009CA-ED58-4D1F-B466-ED20F7522FF6}" srcOrd="0" destOrd="0" presId="urn:microsoft.com/office/officeart/2005/8/layout/hierarchy2"/>
    <dgm:cxn modelId="{294A3522-6968-4E45-9F80-83A61245CECC}" type="presParOf" srcId="{0AE009CA-ED58-4D1F-B466-ED20F7522FF6}" destId="{5347BD64-BF9F-45DC-AE35-5E03E9086E53}" srcOrd="0" destOrd="0" presId="urn:microsoft.com/office/officeart/2005/8/layout/hierarchy2"/>
    <dgm:cxn modelId="{FF3F4986-BBD5-42E3-BA39-AE33C91EDC1C}" type="presParOf" srcId="{FFB2649E-5390-48AC-AEF1-E08CDCD4D8D8}" destId="{E48CE5EB-E138-4BD5-AF6B-83082F161AC1}" srcOrd="1" destOrd="0" presId="urn:microsoft.com/office/officeart/2005/8/layout/hierarchy2"/>
    <dgm:cxn modelId="{B64F8C57-2227-4646-9A84-7FD0273C7F6F}" type="presParOf" srcId="{E48CE5EB-E138-4BD5-AF6B-83082F161AC1}" destId="{56656885-16C1-4C6C-97AE-9F35EBC720B1}" srcOrd="0" destOrd="0" presId="urn:microsoft.com/office/officeart/2005/8/layout/hierarchy2"/>
    <dgm:cxn modelId="{A6F7F47A-0D85-429C-995B-972B37161389}" type="presParOf" srcId="{E48CE5EB-E138-4BD5-AF6B-83082F161AC1}" destId="{A1EB2BA6-7C69-4890-94C8-7B0443A977C2}" srcOrd="1" destOrd="0" presId="urn:microsoft.com/office/officeart/2005/8/layout/hierarchy2"/>
    <dgm:cxn modelId="{9D7CF422-27A7-40D1-9E48-46FC98FAC873}" type="presParOf" srcId="{F77E0828-22BC-4AF4-B2A9-5AFA11434967}" destId="{152D7CF2-BEBF-4B68-8BA1-CA891AE8EE82}" srcOrd="2" destOrd="0" presId="urn:microsoft.com/office/officeart/2005/8/layout/hierarchy2"/>
    <dgm:cxn modelId="{1C22916C-0000-4B33-8281-8477DC1E8A18}" type="presParOf" srcId="{152D7CF2-BEBF-4B68-8BA1-CA891AE8EE82}" destId="{5D39851F-A1A1-47FE-936B-0084F0B5F968}" srcOrd="0" destOrd="0" presId="urn:microsoft.com/office/officeart/2005/8/layout/hierarchy2"/>
    <dgm:cxn modelId="{29EAC24C-0A81-456E-B48E-A636D6E76160}" type="presParOf" srcId="{F77E0828-22BC-4AF4-B2A9-5AFA11434967}" destId="{84FFB9D5-21D3-4942-AEB7-872440053A2D}" srcOrd="3" destOrd="0" presId="urn:microsoft.com/office/officeart/2005/8/layout/hierarchy2"/>
    <dgm:cxn modelId="{82AC19FA-7AE6-4189-8E97-55790E1F673E}" type="presParOf" srcId="{84FFB9D5-21D3-4942-AEB7-872440053A2D}" destId="{1CF30EF4-9E2D-4192-9553-C5AADE99BB21}" srcOrd="0" destOrd="0" presId="urn:microsoft.com/office/officeart/2005/8/layout/hierarchy2"/>
    <dgm:cxn modelId="{347E06D0-2764-40E5-9167-E9E0CD3CBC6C}" type="presParOf" srcId="{84FFB9D5-21D3-4942-AEB7-872440053A2D}" destId="{99BB283F-587F-4380-97B6-BBA388E97270}" srcOrd="1" destOrd="0" presId="urn:microsoft.com/office/officeart/2005/8/layout/hierarchy2"/>
    <dgm:cxn modelId="{10180F32-F5CE-4B0E-8A3C-0059AB5475C6}" type="presParOf" srcId="{99BB283F-587F-4380-97B6-BBA388E97270}" destId="{1DD425BA-C91B-48D8-9EC0-8664E9C609B8}" srcOrd="0" destOrd="0" presId="urn:microsoft.com/office/officeart/2005/8/layout/hierarchy2"/>
    <dgm:cxn modelId="{11ADD934-CCD0-49B1-A559-FB61685F532A}" type="presParOf" srcId="{1DD425BA-C91B-48D8-9EC0-8664E9C609B8}" destId="{F0522C6E-0E4C-499C-80BD-F155E5C80E8D}" srcOrd="0" destOrd="0" presId="urn:microsoft.com/office/officeart/2005/8/layout/hierarchy2"/>
    <dgm:cxn modelId="{63ECCDB7-D47B-4178-A73F-EC9CCD8CDC42}" type="presParOf" srcId="{99BB283F-587F-4380-97B6-BBA388E97270}" destId="{A3F61585-EA53-4E8E-B819-A8FAFAF56C54}" srcOrd="1" destOrd="0" presId="urn:microsoft.com/office/officeart/2005/8/layout/hierarchy2"/>
    <dgm:cxn modelId="{63D53FCF-100A-41D8-B45B-F67506580BD8}" type="presParOf" srcId="{A3F61585-EA53-4E8E-B819-A8FAFAF56C54}" destId="{0F3FC4EF-26B3-4DAB-BE0C-123DF19A2986}" srcOrd="0" destOrd="0" presId="urn:microsoft.com/office/officeart/2005/8/layout/hierarchy2"/>
    <dgm:cxn modelId="{A32D32E5-3637-4532-AF79-CEAF5A600F91}" type="presParOf" srcId="{A3F61585-EA53-4E8E-B819-A8FAFAF56C54}" destId="{1B6BE940-DFED-4D4C-89DA-D23686A2529D}" srcOrd="1" destOrd="0" presId="urn:microsoft.com/office/officeart/2005/8/layout/hierarchy2"/>
    <dgm:cxn modelId="{4BFA755D-193F-41F7-9C5D-3DB1E7498B4A}" type="presParOf" srcId="{99BB283F-587F-4380-97B6-BBA388E97270}" destId="{71325118-D63C-4962-AC0A-F9F9F74B9EEE}" srcOrd="2" destOrd="0" presId="urn:microsoft.com/office/officeart/2005/8/layout/hierarchy2"/>
    <dgm:cxn modelId="{CA2E42C0-9AA2-437B-8461-691FA9F456D1}" type="presParOf" srcId="{71325118-D63C-4962-AC0A-F9F9F74B9EEE}" destId="{B9B2AA38-6237-4C7B-B1EA-5AC5A117BA32}" srcOrd="0" destOrd="0" presId="urn:microsoft.com/office/officeart/2005/8/layout/hierarchy2"/>
    <dgm:cxn modelId="{1F2318EA-A310-4308-B6D8-861528693775}" type="presParOf" srcId="{99BB283F-587F-4380-97B6-BBA388E97270}" destId="{FB6E6D58-2AC2-4A9D-B8AE-287C937F6428}" srcOrd="3" destOrd="0" presId="urn:microsoft.com/office/officeart/2005/8/layout/hierarchy2"/>
    <dgm:cxn modelId="{231147E7-26A8-4037-A118-B430DE038290}" type="presParOf" srcId="{FB6E6D58-2AC2-4A9D-B8AE-287C937F6428}" destId="{F589644E-E2BB-48A6-98C1-6514391D62A9}" srcOrd="0" destOrd="0" presId="urn:microsoft.com/office/officeart/2005/8/layout/hierarchy2"/>
    <dgm:cxn modelId="{DB099701-AF04-42C6-8659-97D035FDF807}" type="presParOf" srcId="{FB6E6D58-2AC2-4A9D-B8AE-287C937F6428}" destId="{99A0B44C-13DA-4019-A41C-A9B9FD1DF7DA}" srcOrd="1" destOrd="0" presId="urn:microsoft.com/office/officeart/2005/8/layout/hierarchy2"/>
    <dgm:cxn modelId="{B668675B-8A4A-43DF-86A7-CF1D1A5FA6F6}" type="presParOf" srcId="{F77E0828-22BC-4AF4-B2A9-5AFA11434967}" destId="{CC42129A-42F5-4CA1-9826-8354525BFAC4}" srcOrd="4" destOrd="0" presId="urn:microsoft.com/office/officeart/2005/8/layout/hierarchy2"/>
    <dgm:cxn modelId="{AAD2D1EF-379F-4A27-B922-6309CC527801}" type="presParOf" srcId="{CC42129A-42F5-4CA1-9826-8354525BFAC4}" destId="{1B9517F6-55E5-49EB-AE3C-38D105B67383}" srcOrd="0" destOrd="0" presId="urn:microsoft.com/office/officeart/2005/8/layout/hierarchy2"/>
    <dgm:cxn modelId="{2BDCCDD8-D700-4B23-BB28-FDD68C9CFF06}" type="presParOf" srcId="{F77E0828-22BC-4AF4-B2A9-5AFA11434967}" destId="{D8533234-72BE-4471-BEDB-67E7AF625462}" srcOrd="5" destOrd="0" presId="urn:microsoft.com/office/officeart/2005/8/layout/hierarchy2"/>
    <dgm:cxn modelId="{814C2B63-5C1E-47D1-99E6-C1156B11CB73}" type="presParOf" srcId="{D8533234-72BE-4471-BEDB-67E7AF625462}" destId="{CCD897E1-2F98-405B-A7A8-39DC790F444D}" srcOrd="0" destOrd="0" presId="urn:microsoft.com/office/officeart/2005/8/layout/hierarchy2"/>
    <dgm:cxn modelId="{884BFAA2-51F3-48CA-A7F7-BF4D5EBD3AE2}" type="presParOf" srcId="{D8533234-72BE-4471-BEDB-67E7AF625462}" destId="{A771AF2E-C358-40B2-B343-29EEEE582485}" srcOrd="1" destOrd="0" presId="urn:microsoft.com/office/officeart/2005/8/layout/hierarchy2"/>
    <dgm:cxn modelId="{280714AE-4D03-4E0D-A786-E6614BCB9F9D}" type="presParOf" srcId="{A771AF2E-C358-40B2-B343-29EEEE582485}" destId="{92959400-FA58-49DE-9B60-383E0C0B4891}" srcOrd="0" destOrd="0" presId="urn:microsoft.com/office/officeart/2005/8/layout/hierarchy2"/>
    <dgm:cxn modelId="{B281F184-0F7A-4B5A-9655-1ED90DB1A465}" type="presParOf" srcId="{92959400-FA58-49DE-9B60-383E0C0B4891}" destId="{6246DDA2-EF36-4CFE-9C07-A2990843225D}" srcOrd="0" destOrd="0" presId="urn:microsoft.com/office/officeart/2005/8/layout/hierarchy2"/>
    <dgm:cxn modelId="{E730A829-B886-4CB7-B27C-263EB765075D}" type="presParOf" srcId="{A771AF2E-C358-40B2-B343-29EEEE582485}" destId="{22C470C7-104D-4FC6-A679-E540EC87FD3C}" srcOrd="1" destOrd="0" presId="urn:microsoft.com/office/officeart/2005/8/layout/hierarchy2"/>
    <dgm:cxn modelId="{A6ABCFA9-5A13-4EEC-BA1F-8E3046BD7FAD}" type="presParOf" srcId="{22C470C7-104D-4FC6-A679-E540EC87FD3C}" destId="{30D88C84-24C4-4240-A0FD-D4204D1F4795}" srcOrd="0" destOrd="0" presId="urn:microsoft.com/office/officeart/2005/8/layout/hierarchy2"/>
    <dgm:cxn modelId="{FD890562-FE42-40D6-B4B8-D5726B9AC726}" type="presParOf" srcId="{22C470C7-104D-4FC6-A679-E540EC87FD3C}" destId="{48D58FA8-C0EC-41F5-AD5D-C934604AB841}" srcOrd="1" destOrd="0" presId="urn:microsoft.com/office/officeart/2005/8/layout/hierarchy2"/>
    <dgm:cxn modelId="{EDF47D78-53BD-48AE-97EC-5308333CD5AD}" type="presParOf" srcId="{A771AF2E-C358-40B2-B343-29EEEE582485}" destId="{6A2E57C2-1CE8-4AE0-94DB-88B7AC381AEC}" srcOrd="2" destOrd="0" presId="urn:microsoft.com/office/officeart/2005/8/layout/hierarchy2"/>
    <dgm:cxn modelId="{43305A39-A8B4-4635-BC51-7B9DDF4D0847}" type="presParOf" srcId="{6A2E57C2-1CE8-4AE0-94DB-88B7AC381AEC}" destId="{17D741D1-51C6-474C-989B-F35EDCC94D35}" srcOrd="0" destOrd="0" presId="urn:microsoft.com/office/officeart/2005/8/layout/hierarchy2"/>
    <dgm:cxn modelId="{240299F1-5766-40A0-85FB-80BB9EBDFDE3}" type="presParOf" srcId="{A771AF2E-C358-40B2-B343-29EEEE582485}" destId="{F5711D64-53BE-4978-990F-E8A59ADA52CD}" srcOrd="3" destOrd="0" presId="urn:microsoft.com/office/officeart/2005/8/layout/hierarchy2"/>
    <dgm:cxn modelId="{567F7BED-3847-4F62-9976-67F9CA21F207}" type="presParOf" srcId="{F5711D64-53BE-4978-990F-E8A59ADA52CD}" destId="{6DF9D2E0-C316-43E8-A78F-CE33559BD554}" srcOrd="0" destOrd="0" presId="urn:microsoft.com/office/officeart/2005/8/layout/hierarchy2"/>
    <dgm:cxn modelId="{27C22F36-02B2-47C2-94A9-5D21703F65DC}" type="presParOf" srcId="{F5711D64-53BE-4978-990F-E8A59ADA52CD}" destId="{B59AE482-82C7-4C8C-9DEE-F1F1A7C90A69}" srcOrd="1" destOrd="0" presId="urn:microsoft.com/office/officeart/2005/8/layout/hierarchy2"/>
    <dgm:cxn modelId="{30097C27-6CD7-49F2-A155-CFF5FFAC0659}" type="presParOf" srcId="{A771AF2E-C358-40B2-B343-29EEEE582485}" destId="{43A351FE-D1C8-4A42-8F36-60E5DFB5D4DB}" srcOrd="4" destOrd="0" presId="urn:microsoft.com/office/officeart/2005/8/layout/hierarchy2"/>
    <dgm:cxn modelId="{59AFE09E-5D17-48EF-9071-91BB8713E1CC}" type="presParOf" srcId="{43A351FE-D1C8-4A42-8F36-60E5DFB5D4DB}" destId="{B665C091-EA0A-4E9B-80F2-7CEE23C7E9AC}" srcOrd="0" destOrd="0" presId="urn:microsoft.com/office/officeart/2005/8/layout/hierarchy2"/>
    <dgm:cxn modelId="{47075391-B7BE-49E4-9397-6C5E920B3BBF}" type="presParOf" srcId="{A771AF2E-C358-40B2-B343-29EEEE582485}" destId="{C385845E-4BDC-4E4D-8992-3D514524C884}" srcOrd="5" destOrd="0" presId="urn:microsoft.com/office/officeart/2005/8/layout/hierarchy2"/>
    <dgm:cxn modelId="{90530239-6CAE-4947-A37E-5FCF68DEE0D3}" type="presParOf" srcId="{C385845E-4BDC-4E4D-8992-3D514524C884}" destId="{FABF1E00-8788-4C82-9CB2-F8AE1E24D9F3}" srcOrd="0" destOrd="0" presId="urn:microsoft.com/office/officeart/2005/8/layout/hierarchy2"/>
    <dgm:cxn modelId="{5B8927B5-055B-442D-8FCC-0FA3CCF29FF7}" type="presParOf" srcId="{C385845E-4BDC-4E4D-8992-3D514524C884}" destId="{398D2676-276B-4299-A088-91665F1209D7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34916C2-1986-47BC-AF6D-D399EAFE6B30}" type="doc">
      <dgm:prSet loTypeId="urn:microsoft.com/office/officeart/2005/8/layout/hList7" loCatId="list" qsTypeId="urn:microsoft.com/office/officeart/2005/8/quickstyle/simple5" qsCatId="simple" csTypeId="urn:microsoft.com/office/officeart/2005/8/colors/accent1_2" csCatId="accent1" phldr="1"/>
      <dgm:spPr/>
    </dgm:pt>
    <dgm:pt modelId="{CE82B94A-4D07-4543-9E50-ED20FAB221CD}">
      <dgm:prSet phldrT="[Text]"/>
      <dgm:spPr/>
      <dgm:t>
        <a:bodyPr/>
        <a:lstStyle/>
        <a:p>
          <a:r>
            <a:rPr lang="es-AR" dirty="0"/>
            <a:t>TITLE</a:t>
          </a:r>
        </a:p>
        <a:p>
          <a:r>
            <a:rPr lang="es-AR" dirty="0" smtClean="0"/>
            <a:t>Títulos </a:t>
          </a:r>
          <a:r>
            <a:rPr lang="es-AR" dirty="0"/>
            <a:t>funcionales en la organización</a:t>
          </a:r>
        </a:p>
      </dgm:t>
    </dgm:pt>
    <dgm:pt modelId="{6CD013DC-F0C0-43A7-8115-455953135033}" type="parTrans" cxnId="{D4B3FBC3-62DE-42C7-8674-99FBA5EFEB9E}">
      <dgm:prSet/>
      <dgm:spPr/>
      <dgm:t>
        <a:bodyPr/>
        <a:lstStyle/>
        <a:p>
          <a:endParaRPr lang="es-AR"/>
        </a:p>
      </dgm:t>
    </dgm:pt>
    <dgm:pt modelId="{9A03D763-8059-42EC-B581-9688A6874FFD}" type="sibTrans" cxnId="{D4B3FBC3-62DE-42C7-8674-99FBA5EFEB9E}">
      <dgm:prSet/>
      <dgm:spPr/>
      <dgm:t>
        <a:bodyPr/>
        <a:lstStyle/>
        <a:p>
          <a:endParaRPr lang="es-AR"/>
        </a:p>
      </dgm:t>
    </dgm:pt>
    <dgm:pt modelId="{290D52E7-62FD-4E42-99EE-F6BBBA8B0DC3}">
      <dgm:prSet phldrT="[Text]"/>
      <dgm:spPr/>
      <dgm:t>
        <a:bodyPr/>
        <a:lstStyle/>
        <a:p>
          <a:r>
            <a:rPr lang="es-AR" dirty="0"/>
            <a:t>MARKET</a:t>
          </a:r>
        </a:p>
        <a:p>
          <a:r>
            <a:rPr lang="es-AR" dirty="0"/>
            <a:t>Mercado en el que se desempeña considerando Mobile / </a:t>
          </a:r>
          <a:r>
            <a:rPr lang="es-AR" dirty="0" err="1"/>
            <a:t>Core</a:t>
          </a:r>
          <a:r>
            <a:rPr lang="es-AR" dirty="0"/>
            <a:t> / </a:t>
          </a:r>
          <a:r>
            <a:rPr lang="es-AR" dirty="0" err="1"/>
            <a:t>Etc</a:t>
          </a:r>
          <a:r>
            <a:rPr lang="es-AR" dirty="0"/>
            <a:t> como tales</a:t>
          </a:r>
          <a:br>
            <a:rPr lang="es-AR" dirty="0"/>
          </a:br>
          <a:r>
            <a:rPr lang="es-AR" dirty="0"/>
            <a:t>(reevaluar el nombre del </a:t>
          </a:r>
          <a:r>
            <a:rPr lang="es-AR" dirty="0" smtClean="0"/>
            <a:t>grupo Team?)</a:t>
          </a:r>
          <a:endParaRPr lang="es-AR" dirty="0"/>
        </a:p>
      </dgm:t>
    </dgm:pt>
    <dgm:pt modelId="{B86CC903-60E7-491C-8E1C-861A5D23EF23}" type="parTrans" cxnId="{C6B53DF9-21D5-43DA-A617-5B6D3FD78879}">
      <dgm:prSet/>
      <dgm:spPr/>
      <dgm:t>
        <a:bodyPr/>
        <a:lstStyle/>
        <a:p>
          <a:endParaRPr lang="es-AR"/>
        </a:p>
      </dgm:t>
    </dgm:pt>
    <dgm:pt modelId="{F655FFC0-DE17-4DEC-BC79-38251C72FE7C}" type="sibTrans" cxnId="{C6B53DF9-21D5-43DA-A617-5B6D3FD78879}">
      <dgm:prSet/>
      <dgm:spPr/>
      <dgm:t>
        <a:bodyPr/>
        <a:lstStyle/>
        <a:p>
          <a:endParaRPr lang="es-AR"/>
        </a:p>
      </dgm:t>
    </dgm:pt>
    <dgm:pt modelId="{B1E78A2B-5AC3-45DE-807F-6CD6E2E2893F}">
      <dgm:prSet phldrT="[Text]"/>
      <dgm:spPr/>
      <dgm:t>
        <a:bodyPr/>
        <a:lstStyle/>
        <a:p>
          <a:r>
            <a:rPr lang="es-AR" dirty="0"/>
            <a:t>APPLICATION</a:t>
          </a:r>
        </a:p>
        <a:p>
          <a:r>
            <a:rPr lang="es-AR" dirty="0" smtClean="0"/>
            <a:t>Aplicaciones </a:t>
          </a:r>
          <a:r>
            <a:rPr lang="es-AR" dirty="0"/>
            <a:t>internas e Externas sobre las que se majea la seguridad de acceso</a:t>
          </a:r>
        </a:p>
        <a:p>
          <a:endParaRPr lang="es-AR" dirty="0"/>
        </a:p>
      </dgm:t>
    </dgm:pt>
    <dgm:pt modelId="{AA467032-CAD7-4CCB-B547-FAAEBAB82748}" type="parTrans" cxnId="{F65376A2-CBDB-488B-8668-553D64302B26}">
      <dgm:prSet/>
      <dgm:spPr/>
      <dgm:t>
        <a:bodyPr/>
        <a:lstStyle/>
        <a:p>
          <a:endParaRPr lang="es-AR"/>
        </a:p>
      </dgm:t>
    </dgm:pt>
    <dgm:pt modelId="{1A60CF45-A0DF-449C-B545-5D5E56F71EA9}" type="sibTrans" cxnId="{F65376A2-CBDB-488B-8668-553D64302B26}">
      <dgm:prSet/>
      <dgm:spPr/>
      <dgm:t>
        <a:bodyPr/>
        <a:lstStyle/>
        <a:p>
          <a:endParaRPr lang="es-AR"/>
        </a:p>
      </dgm:t>
    </dgm:pt>
    <dgm:pt modelId="{9D0A7176-2EA1-4847-A732-D188FB77C55B}">
      <dgm:prSet phldrT="[Text]"/>
      <dgm:spPr/>
      <dgm:t>
        <a:bodyPr/>
        <a:lstStyle/>
        <a:p>
          <a:r>
            <a:rPr lang="es-AR" dirty="0" smtClean="0"/>
            <a:t>App-Perfil</a:t>
          </a:r>
        </a:p>
        <a:p>
          <a:r>
            <a:rPr lang="es-AR" dirty="0" smtClean="0"/>
            <a:t>Lista de roles definidos en las herramienta</a:t>
          </a:r>
          <a:br>
            <a:rPr lang="es-AR" dirty="0" smtClean="0"/>
          </a:br>
          <a:r>
            <a:rPr lang="es-AR" i="1" dirty="0" err="1" smtClean="0"/>
            <a:t>Defininir</a:t>
          </a:r>
          <a:r>
            <a:rPr lang="es-AR" i="1" dirty="0" smtClean="0"/>
            <a:t> dentro de lo posible nomenclatura de relación con la app. (Definir grupos por app ??)</a:t>
          </a:r>
          <a:endParaRPr lang="es-AR" i="1" dirty="0"/>
        </a:p>
      </dgm:t>
    </dgm:pt>
    <dgm:pt modelId="{E8DD7C98-ED45-4B8A-AA78-8F8AFFB0B942}" type="parTrans" cxnId="{6B7E5D80-E4C3-4EB9-B871-1B85431D83AC}">
      <dgm:prSet/>
      <dgm:spPr/>
      <dgm:t>
        <a:bodyPr/>
        <a:lstStyle/>
        <a:p>
          <a:endParaRPr lang="es-AR"/>
        </a:p>
      </dgm:t>
    </dgm:pt>
    <dgm:pt modelId="{86293FB0-EA15-41C4-9659-B48E2CE63FE7}" type="sibTrans" cxnId="{6B7E5D80-E4C3-4EB9-B871-1B85431D83AC}">
      <dgm:prSet/>
      <dgm:spPr/>
      <dgm:t>
        <a:bodyPr/>
        <a:lstStyle/>
        <a:p>
          <a:endParaRPr lang="es-AR"/>
        </a:p>
      </dgm:t>
    </dgm:pt>
    <dgm:pt modelId="{4D36FEE6-8B33-4F9C-B51F-48504942327C}">
      <dgm:prSet phldrT="[Text]"/>
      <dgm:spPr/>
      <dgm:t>
        <a:bodyPr/>
        <a:lstStyle/>
        <a:p>
          <a:r>
            <a:rPr lang="es-AR" dirty="0"/>
            <a:t>Office LOCATION</a:t>
          </a:r>
        </a:p>
        <a:p>
          <a:r>
            <a:rPr lang="es-AR" dirty="0"/>
            <a:t>Asignación de </a:t>
          </a:r>
          <a:r>
            <a:rPr lang="es-AR" dirty="0" smtClean="0"/>
            <a:t>oficina </a:t>
          </a:r>
          <a:r>
            <a:rPr lang="es-AR" dirty="0"/>
            <a:t>principal</a:t>
          </a:r>
        </a:p>
      </dgm:t>
    </dgm:pt>
    <dgm:pt modelId="{A2BFDA5D-902F-434B-AFA1-825849E2A0A9}" type="parTrans" cxnId="{DA6A6C4F-EE8A-4A3E-A4A5-9A8E36A86578}">
      <dgm:prSet/>
      <dgm:spPr/>
      <dgm:t>
        <a:bodyPr/>
        <a:lstStyle/>
        <a:p>
          <a:endParaRPr lang="es-AR"/>
        </a:p>
      </dgm:t>
    </dgm:pt>
    <dgm:pt modelId="{072E9BAC-4C0F-4A4A-A160-B3AA4CD1A50D}" type="sibTrans" cxnId="{DA6A6C4F-EE8A-4A3E-A4A5-9A8E36A86578}">
      <dgm:prSet/>
      <dgm:spPr/>
      <dgm:t>
        <a:bodyPr/>
        <a:lstStyle/>
        <a:p>
          <a:endParaRPr lang="es-AR"/>
        </a:p>
      </dgm:t>
    </dgm:pt>
    <dgm:pt modelId="{07466E60-3F1C-462A-9E47-A6BD33F5CFAB}">
      <dgm:prSet phldrT="[Text]"/>
      <dgm:spPr/>
      <dgm:t>
        <a:bodyPr/>
        <a:lstStyle/>
        <a:p>
          <a:r>
            <a:rPr lang="es-AR" dirty="0"/>
            <a:t>Mail-</a:t>
          </a:r>
          <a:r>
            <a:rPr lang="es-AR" dirty="0" err="1"/>
            <a:t>Chain</a:t>
          </a:r>
          <a:endParaRPr lang="es-AR" dirty="0"/>
        </a:p>
        <a:p>
          <a:r>
            <a:rPr lang="es-AR" dirty="0"/>
            <a:t>Grupo de distribución de </a:t>
          </a:r>
          <a:r>
            <a:rPr lang="es-AR" dirty="0" err="1" smtClean="0"/>
            <a:t>Mail´s</a:t>
          </a:r>
          <a:r>
            <a:rPr lang="es-AR" dirty="0" smtClean="0"/>
            <a:t/>
          </a:r>
          <a:br>
            <a:rPr lang="es-AR" dirty="0" smtClean="0"/>
          </a:br>
          <a:r>
            <a:rPr lang="es-AR" i="1" dirty="0" smtClean="0"/>
            <a:t>Puede tener relación con el usuario o con el título + MK</a:t>
          </a:r>
          <a:endParaRPr lang="es-AR" i="1" dirty="0"/>
        </a:p>
        <a:p>
          <a:r>
            <a:rPr lang="es-AR" dirty="0" smtClean="0"/>
            <a:t>O pueden ser 2 estructuras de cadenas independientes</a:t>
          </a:r>
          <a:endParaRPr lang="es-AR" dirty="0"/>
        </a:p>
      </dgm:t>
    </dgm:pt>
    <dgm:pt modelId="{FE928939-9DA4-4EC3-AB2F-F304CE7E73BF}" type="parTrans" cxnId="{68D2F1F4-3567-4D58-9AA1-92094CB825BF}">
      <dgm:prSet/>
      <dgm:spPr/>
      <dgm:t>
        <a:bodyPr/>
        <a:lstStyle/>
        <a:p>
          <a:endParaRPr lang="es-AR"/>
        </a:p>
      </dgm:t>
    </dgm:pt>
    <dgm:pt modelId="{4A6184CA-E056-43A1-8121-88EEDCF1FF92}" type="sibTrans" cxnId="{68D2F1F4-3567-4D58-9AA1-92094CB825BF}">
      <dgm:prSet/>
      <dgm:spPr/>
      <dgm:t>
        <a:bodyPr/>
        <a:lstStyle/>
        <a:p>
          <a:endParaRPr lang="es-AR"/>
        </a:p>
      </dgm:t>
    </dgm:pt>
    <dgm:pt modelId="{2C493F36-43DA-49C5-9450-EEE27BB29977}" type="pres">
      <dgm:prSet presAssocID="{D34916C2-1986-47BC-AF6D-D399EAFE6B30}" presName="Name0" presStyleCnt="0">
        <dgm:presLayoutVars>
          <dgm:dir/>
          <dgm:resizeHandles val="exact"/>
        </dgm:presLayoutVars>
      </dgm:prSet>
      <dgm:spPr/>
    </dgm:pt>
    <dgm:pt modelId="{C7128B23-CF84-475A-B192-E74D3E0F497D}" type="pres">
      <dgm:prSet presAssocID="{D34916C2-1986-47BC-AF6D-D399EAFE6B30}" presName="fgShape" presStyleLbl="fgShp" presStyleIdx="0" presStyleCnt="1"/>
      <dgm:spPr/>
    </dgm:pt>
    <dgm:pt modelId="{676E753E-590D-458C-950F-430CA8AEC270}" type="pres">
      <dgm:prSet presAssocID="{D34916C2-1986-47BC-AF6D-D399EAFE6B30}" presName="linComp" presStyleCnt="0"/>
      <dgm:spPr/>
    </dgm:pt>
    <dgm:pt modelId="{A8ECFBA8-EF62-4596-A0C5-0B4C0B7F4EBF}" type="pres">
      <dgm:prSet presAssocID="{CE82B94A-4D07-4543-9E50-ED20FAB221CD}" presName="compNode" presStyleCnt="0"/>
      <dgm:spPr/>
    </dgm:pt>
    <dgm:pt modelId="{FBC3924C-5921-47AA-9C9C-930060103A55}" type="pres">
      <dgm:prSet presAssocID="{CE82B94A-4D07-4543-9E50-ED20FAB221CD}" presName="bkgdShape" presStyleLbl="node1" presStyleIdx="0" presStyleCnt="6"/>
      <dgm:spPr/>
      <dgm:t>
        <a:bodyPr/>
        <a:lstStyle/>
        <a:p>
          <a:endParaRPr lang="es-AR"/>
        </a:p>
      </dgm:t>
    </dgm:pt>
    <dgm:pt modelId="{D080D933-75D0-4919-8DF9-8510586CE486}" type="pres">
      <dgm:prSet presAssocID="{CE82B94A-4D07-4543-9E50-ED20FAB221CD}" presName="nodeTx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s-AR"/>
        </a:p>
      </dgm:t>
    </dgm:pt>
    <dgm:pt modelId="{390506B3-504A-48C5-9B82-BCDC9B5F3588}" type="pres">
      <dgm:prSet presAssocID="{CE82B94A-4D07-4543-9E50-ED20FAB221CD}" presName="invisiNode" presStyleLbl="node1" presStyleIdx="0" presStyleCnt="6"/>
      <dgm:spPr/>
    </dgm:pt>
    <dgm:pt modelId="{E02C56C4-4A0B-41D4-B986-24E9B2BB0284}" type="pres">
      <dgm:prSet presAssocID="{CE82B94A-4D07-4543-9E50-ED20FAB221CD}" presName="imagNode" presStyleLbl="fgImgPlace1" presStyleIdx="0" presStyleCnt="6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3000" r="-23000"/>
          </a:stretch>
        </a:blipFill>
      </dgm:spPr>
    </dgm:pt>
    <dgm:pt modelId="{F3DE201F-671E-4EC4-B429-525FD514B19A}" type="pres">
      <dgm:prSet presAssocID="{9A03D763-8059-42EC-B581-9688A6874FFD}" presName="sibTrans" presStyleLbl="sibTrans2D1" presStyleIdx="0" presStyleCnt="0"/>
      <dgm:spPr/>
      <dgm:t>
        <a:bodyPr/>
        <a:lstStyle/>
        <a:p>
          <a:endParaRPr lang="es-AR"/>
        </a:p>
      </dgm:t>
    </dgm:pt>
    <dgm:pt modelId="{BDD7688D-ADC1-4C88-840F-2CE9A8050485}" type="pres">
      <dgm:prSet presAssocID="{290D52E7-62FD-4E42-99EE-F6BBBA8B0DC3}" presName="compNode" presStyleCnt="0"/>
      <dgm:spPr/>
    </dgm:pt>
    <dgm:pt modelId="{CABF533B-581A-4CDF-AB8E-232B23C93234}" type="pres">
      <dgm:prSet presAssocID="{290D52E7-62FD-4E42-99EE-F6BBBA8B0DC3}" presName="bkgdShape" presStyleLbl="node1" presStyleIdx="1" presStyleCnt="6"/>
      <dgm:spPr/>
      <dgm:t>
        <a:bodyPr/>
        <a:lstStyle/>
        <a:p>
          <a:endParaRPr lang="es-AR"/>
        </a:p>
      </dgm:t>
    </dgm:pt>
    <dgm:pt modelId="{949053F7-9A02-47AD-905D-C913C1E81EE0}" type="pres">
      <dgm:prSet presAssocID="{290D52E7-62FD-4E42-99EE-F6BBBA8B0DC3}" presName="nodeTx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s-AR"/>
        </a:p>
      </dgm:t>
    </dgm:pt>
    <dgm:pt modelId="{F95ACBD8-7933-401E-91CB-1E038EAD3081}" type="pres">
      <dgm:prSet presAssocID="{290D52E7-62FD-4E42-99EE-F6BBBA8B0DC3}" presName="invisiNode" presStyleLbl="node1" presStyleIdx="1" presStyleCnt="6"/>
      <dgm:spPr/>
    </dgm:pt>
    <dgm:pt modelId="{52D8198D-70C3-4B20-A3A4-A6CB490709D1}" type="pres">
      <dgm:prSet presAssocID="{290D52E7-62FD-4E42-99EE-F6BBBA8B0DC3}" presName="imagNode" presStyleLbl="fgImgPlace1" presStyleIdx="1" presStyleCnt="6"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9B12AFF5-7900-450B-A302-6F41839C0494}" type="pres">
      <dgm:prSet presAssocID="{F655FFC0-DE17-4DEC-BC79-38251C72FE7C}" presName="sibTrans" presStyleLbl="sibTrans2D1" presStyleIdx="0" presStyleCnt="0"/>
      <dgm:spPr/>
      <dgm:t>
        <a:bodyPr/>
        <a:lstStyle/>
        <a:p>
          <a:endParaRPr lang="es-AR"/>
        </a:p>
      </dgm:t>
    </dgm:pt>
    <dgm:pt modelId="{D9C039E8-111A-4A54-9EDB-12393792D765}" type="pres">
      <dgm:prSet presAssocID="{B1E78A2B-5AC3-45DE-807F-6CD6E2E2893F}" presName="compNode" presStyleCnt="0"/>
      <dgm:spPr/>
    </dgm:pt>
    <dgm:pt modelId="{FF941132-1E33-4FC3-B742-FEBE3887EDF5}" type="pres">
      <dgm:prSet presAssocID="{B1E78A2B-5AC3-45DE-807F-6CD6E2E2893F}" presName="bkgdShape" presStyleLbl="node1" presStyleIdx="2" presStyleCnt="6"/>
      <dgm:spPr/>
      <dgm:t>
        <a:bodyPr/>
        <a:lstStyle/>
        <a:p>
          <a:endParaRPr lang="es-AR"/>
        </a:p>
      </dgm:t>
    </dgm:pt>
    <dgm:pt modelId="{8B7EF7F5-802D-40E1-9AC9-F2CC765EEAE9}" type="pres">
      <dgm:prSet presAssocID="{B1E78A2B-5AC3-45DE-807F-6CD6E2E2893F}" presName="nodeTx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s-AR"/>
        </a:p>
      </dgm:t>
    </dgm:pt>
    <dgm:pt modelId="{F9C0A23C-48B1-4F79-A6A1-3BB0D900C43C}" type="pres">
      <dgm:prSet presAssocID="{B1E78A2B-5AC3-45DE-807F-6CD6E2E2893F}" presName="invisiNode" presStyleLbl="node1" presStyleIdx="2" presStyleCnt="6"/>
      <dgm:spPr/>
    </dgm:pt>
    <dgm:pt modelId="{DDCA8A03-0BA7-4B5D-AA27-0105B8A8EC05}" type="pres">
      <dgm:prSet presAssocID="{B1E78A2B-5AC3-45DE-807F-6CD6E2E2893F}" presName="imagNode" presStyleLbl="fgImgPlace1" presStyleIdx="2" presStyleCnt="6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857E8298-AF65-4486-8C5B-B16DFF3882E7}" type="pres">
      <dgm:prSet presAssocID="{1A60CF45-A0DF-449C-B545-5D5E56F71EA9}" presName="sibTrans" presStyleLbl="sibTrans2D1" presStyleIdx="0" presStyleCnt="0"/>
      <dgm:spPr/>
      <dgm:t>
        <a:bodyPr/>
        <a:lstStyle/>
        <a:p>
          <a:endParaRPr lang="es-AR"/>
        </a:p>
      </dgm:t>
    </dgm:pt>
    <dgm:pt modelId="{7174C3BA-464D-4B78-A0C1-2C87127EB550}" type="pres">
      <dgm:prSet presAssocID="{9D0A7176-2EA1-4847-A732-D188FB77C55B}" presName="compNode" presStyleCnt="0"/>
      <dgm:spPr/>
    </dgm:pt>
    <dgm:pt modelId="{A04DF248-2004-41F3-AD08-DE75CE31967F}" type="pres">
      <dgm:prSet presAssocID="{9D0A7176-2EA1-4847-A732-D188FB77C55B}" presName="bkgdShape" presStyleLbl="node1" presStyleIdx="3" presStyleCnt="6"/>
      <dgm:spPr/>
      <dgm:t>
        <a:bodyPr/>
        <a:lstStyle/>
        <a:p>
          <a:endParaRPr lang="es-AR"/>
        </a:p>
      </dgm:t>
    </dgm:pt>
    <dgm:pt modelId="{06CF4EAC-8752-4994-8144-E1B19ACA62A1}" type="pres">
      <dgm:prSet presAssocID="{9D0A7176-2EA1-4847-A732-D188FB77C55B}" presName="nodeTx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es-AR"/>
        </a:p>
      </dgm:t>
    </dgm:pt>
    <dgm:pt modelId="{F18DA027-4420-469A-842F-D071D5FE24CB}" type="pres">
      <dgm:prSet presAssocID="{9D0A7176-2EA1-4847-A732-D188FB77C55B}" presName="invisiNode" presStyleLbl="node1" presStyleIdx="3" presStyleCnt="6"/>
      <dgm:spPr/>
    </dgm:pt>
    <dgm:pt modelId="{BE6D8FC3-AB86-4884-B0A5-577E6CCFB6FB}" type="pres">
      <dgm:prSet presAssocID="{9D0A7176-2EA1-4847-A732-D188FB77C55B}" presName="imagNode" presStyleLbl="fgImgPlace1" presStyleIdx="3" presStyleCnt="6"/>
      <dgm:spPr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589AC2D4-EF8A-4E12-9E2C-6CC4DF9A24D0}" type="pres">
      <dgm:prSet presAssocID="{86293FB0-EA15-41C4-9659-B48E2CE63FE7}" presName="sibTrans" presStyleLbl="sibTrans2D1" presStyleIdx="0" presStyleCnt="0"/>
      <dgm:spPr/>
    </dgm:pt>
    <dgm:pt modelId="{74F62695-948A-4B31-A6EE-FB16C4A0EE17}" type="pres">
      <dgm:prSet presAssocID="{4D36FEE6-8B33-4F9C-B51F-48504942327C}" presName="compNode" presStyleCnt="0"/>
      <dgm:spPr/>
    </dgm:pt>
    <dgm:pt modelId="{5D683962-CA49-4A65-872B-EE5A35F42408}" type="pres">
      <dgm:prSet presAssocID="{4D36FEE6-8B33-4F9C-B51F-48504942327C}" presName="bkgdShape" presStyleLbl="node1" presStyleIdx="4" presStyleCnt="6"/>
      <dgm:spPr/>
      <dgm:t>
        <a:bodyPr/>
        <a:lstStyle/>
        <a:p>
          <a:endParaRPr lang="es-AR"/>
        </a:p>
      </dgm:t>
    </dgm:pt>
    <dgm:pt modelId="{562C63F2-9E6A-4B95-AEF1-A60235EBE29F}" type="pres">
      <dgm:prSet presAssocID="{4D36FEE6-8B33-4F9C-B51F-48504942327C}" presName="nodeTx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es-AR"/>
        </a:p>
      </dgm:t>
    </dgm:pt>
    <dgm:pt modelId="{8804A351-60F9-451C-B0F0-AD505D2FD8DC}" type="pres">
      <dgm:prSet presAssocID="{4D36FEE6-8B33-4F9C-B51F-48504942327C}" presName="invisiNode" presStyleLbl="node1" presStyleIdx="4" presStyleCnt="6"/>
      <dgm:spPr/>
    </dgm:pt>
    <dgm:pt modelId="{459BBBE2-0CBD-4B8A-9B13-F8A29B65DDC5}" type="pres">
      <dgm:prSet presAssocID="{4D36FEE6-8B33-4F9C-B51F-48504942327C}" presName="imagNode" presStyleLbl="fgImgPlace1" presStyleIdx="4" presStyleCnt="6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2000" r="-12000"/>
          </a:stretch>
        </a:blipFill>
      </dgm:spPr>
    </dgm:pt>
    <dgm:pt modelId="{20E18429-878E-4061-AA64-FD4C6C114ED8}" type="pres">
      <dgm:prSet presAssocID="{072E9BAC-4C0F-4A4A-A160-B3AA4CD1A50D}" presName="sibTrans" presStyleLbl="sibTrans2D1" presStyleIdx="0" presStyleCnt="0"/>
      <dgm:spPr/>
    </dgm:pt>
    <dgm:pt modelId="{F2C4B616-2739-4CBA-B745-935E76BBFCBF}" type="pres">
      <dgm:prSet presAssocID="{07466E60-3F1C-462A-9E47-A6BD33F5CFAB}" presName="compNode" presStyleCnt="0"/>
      <dgm:spPr/>
    </dgm:pt>
    <dgm:pt modelId="{4EA26A78-CE89-47F2-8460-24659D3DB26F}" type="pres">
      <dgm:prSet presAssocID="{07466E60-3F1C-462A-9E47-A6BD33F5CFAB}" presName="bkgdShape" presStyleLbl="node1" presStyleIdx="5" presStyleCnt="6" custLinFactNeighborX="50064" custLinFactNeighborY="-1073"/>
      <dgm:spPr/>
      <dgm:t>
        <a:bodyPr/>
        <a:lstStyle/>
        <a:p>
          <a:endParaRPr lang="es-AR"/>
        </a:p>
      </dgm:t>
    </dgm:pt>
    <dgm:pt modelId="{45E7E2CD-F13E-4B96-A5CB-0D5BBBE35559}" type="pres">
      <dgm:prSet presAssocID="{07466E60-3F1C-462A-9E47-A6BD33F5CFAB}" presName="nodeTx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es-AR"/>
        </a:p>
      </dgm:t>
    </dgm:pt>
    <dgm:pt modelId="{2834BD0D-38A4-46E4-B952-4EC32668701C}" type="pres">
      <dgm:prSet presAssocID="{07466E60-3F1C-462A-9E47-A6BD33F5CFAB}" presName="invisiNode" presStyleLbl="node1" presStyleIdx="5" presStyleCnt="6"/>
      <dgm:spPr/>
    </dgm:pt>
    <dgm:pt modelId="{99CF732F-AFA6-4723-A5A7-082591576AFF}" type="pres">
      <dgm:prSet presAssocID="{07466E60-3F1C-462A-9E47-A6BD33F5CFAB}" presName="imagNode" presStyleLbl="fgImgPlace1" presStyleIdx="5" presStyleCnt="6"/>
      <dgm:spPr>
        <a:blipFill>
          <a:blip xmlns:r="http://schemas.openxmlformats.org/officeDocument/2006/relationships"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8000" r="-28000"/>
          </a:stretch>
        </a:blipFill>
      </dgm:spPr>
      <dgm:t>
        <a:bodyPr/>
        <a:lstStyle/>
        <a:p>
          <a:endParaRPr lang="es-AR"/>
        </a:p>
      </dgm:t>
    </dgm:pt>
  </dgm:ptLst>
  <dgm:cxnLst>
    <dgm:cxn modelId="{3A71AF3E-A96B-42F5-9A50-69C824A78583}" type="presOf" srcId="{4D36FEE6-8B33-4F9C-B51F-48504942327C}" destId="{5D683962-CA49-4A65-872B-EE5A35F42408}" srcOrd="0" destOrd="0" presId="urn:microsoft.com/office/officeart/2005/8/layout/hList7"/>
    <dgm:cxn modelId="{A287709A-007F-4335-90D3-BD2E199A8947}" type="presOf" srcId="{D34916C2-1986-47BC-AF6D-D399EAFE6B30}" destId="{2C493F36-43DA-49C5-9450-EEE27BB29977}" srcOrd="0" destOrd="0" presId="urn:microsoft.com/office/officeart/2005/8/layout/hList7"/>
    <dgm:cxn modelId="{DA6A6C4F-EE8A-4A3E-A4A5-9A8E36A86578}" srcId="{D34916C2-1986-47BC-AF6D-D399EAFE6B30}" destId="{4D36FEE6-8B33-4F9C-B51F-48504942327C}" srcOrd="4" destOrd="0" parTransId="{A2BFDA5D-902F-434B-AFA1-825849E2A0A9}" sibTransId="{072E9BAC-4C0F-4A4A-A160-B3AA4CD1A50D}"/>
    <dgm:cxn modelId="{7B728FE5-FFB8-4F36-9C3F-2E33DD6F3C21}" type="presOf" srcId="{290D52E7-62FD-4E42-99EE-F6BBBA8B0DC3}" destId="{949053F7-9A02-47AD-905D-C913C1E81EE0}" srcOrd="1" destOrd="0" presId="urn:microsoft.com/office/officeart/2005/8/layout/hList7"/>
    <dgm:cxn modelId="{C5E81340-8A43-450E-8901-5D66EA65234D}" type="presOf" srcId="{072E9BAC-4C0F-4A4A-A160-B3AA4CD1A50D}" destId="{20E18429-878E-4061-AA64-FD4C6C114ED8}" srcOrd="0" destOrd="0" presId="urn:microsoft.com/office/officeart/2005/8/layout/hList7"/>
    <dgm:cxn modelId="{448FCA11-8288-4095-AA8F-4761EFE06813}" type="presOf" srcId="{07466E60-3F1C-462A-9E47-A6BD33F5CFAB}" destId="{4EA26A78-CE89-47F2-8460-24659D3DB26F}" srcOrd="0" destOrd="0" presId="urn:microsoft.com/office/officeart/2005/8/layout/hList7"/>
    <dgm:cxn modelId="{447EAE8A-D53B-4B94-90FC-0AEAAB32EE3F}" type="presOf" srcId="{CE82B94A-4D07-4543-9E50-ED20FAB221CD}" destId="{FBC3924C-5921-47AA-9C9C-930060103A55}" srcOrd="0" destOrd="0" presId="urn:microsoft.com/office/officeart/2005/8/layout/hList7"/>
    <dgm:cxn modelId="{F65376A2-CBDB-488B-8668-553D64302B26}" srcId="{D34916C2-1986-47BC-AF6D-D399EAFE6B30}" destId="{B1E78A2B-5AC3-45DE-807F-6CD6E2E2893F}" srcOrd="2" destOrd="0" parTransId="{AA467032-CAD7-4CCB-B547-FAAEBAB82748}" sibTransId="{1A60CF45-A0DF-449C-B545-5D5E56F71EA9}"/>
    <dgm:cxn modelId="{68D2F1F4-3567-4D58-9AA1-92094CB825BF}" srcId="{D34916C2-1986-47BC-AF6D-D399EAFE6B30}" destId="{07466E60-3F1C-462A-9E47-A6BD33F5CFAB}" srcOrd="5" destOrd="0" parTransId="{FE928939-9DA4-4EC3-AB2F-F304CE7E73BF}" sibTransId="{4A6184CA-E056-43A1-8121-88EEDCF1FF92}"/>
    <dgm:cxn modelId="{AD41BAFA-B0BB-4B72-9FDD-817D233BDD78}" type="presOf" srcId="{CE82B94A-4D07-4543-9E50-ED20FAB221CD}" destId="{D080D933-75D0-4919-8DF9-8510586CE486}" srcOrd="1" destOrd="0" presId="urn:microsoft.com/office/officeart/2005/8/layout/hList7"/>
    <dgm:cxn modelId="{2DF94DA6-550D-4450-B7E9-2E112CA0F414}" type="presOf" srcId="{07466E60-3F1C-462A-9E47-A6BD33F5CFAB}" destId="{45E7E2CD-F13E-4B96-A5CB-0D5BBBE35559}" srcOrd="1" destOrd="0" presId="urn:microsoft.com/office/officeart/2005/8/layout/hList7"/>
    <dgm:cxn modelId="{D4B3FBC3-62DE-42C7-8674-99FBA5EFEB9E}" srcId="{D34916C2-1986-47BC-AF6D-D399EAFE6B30}" destId="{CE82B94A-4D07-4543-9E50-ED20FAB221CD}" srcOrd="0" destOrd="0" parTransId="{6CD013DC-F0C0-43A7-8115-455953135033}" sibTransId="{9A03D763-8059-42EC-B581-9688A6874FFD}"/>
    <dgm:cxn modelId="{6A9911E5-F9DD-4934-8ADC-ED4F4FCC21FF}" type="presOf" srcId="{9A03D763-8059-42EC-B581-9688A6874FFD}" destId="{F3DE201F-671E-4EC4-B429-525FD514B19A}" srcOrd="0" destOrd="0" presId="urn:microsoft.com/office/officeart/2005/8/layout/hList7"/>
    <dgm:cxn modelId="{3A0E3525-4E38-4EFF-9C7A-6BE2F70D2680}" type="presOf" srcId="{B1E78A2B-5AC3-45DE-807F-6CD6E2E2893F}" destId="{FF941132-1E33-4FC3-B742-FEBE3887EDF5}" srcOrd="0" destOrd="0" presId="urn:microsoft.com/office/officeart/2005/8/layout/hList7"/>
    <dgm:cxn modelId="{5A60BF60-8426-49C8-95C6-DCB67E4D8B7C}" type="presOf" srcId="{9D0A7176-2EA1-4847-A732-D188FB77C55B}" destId="{06CF4EAC-8752-4994-8144-E1B19ACA62A1}" srcOrd="1" destOrd="0" presId="urn:microsoft.com/office/officeart/2005/8/layout/hList7"/>
    <dgm:cxn modelId="{21329B77-16F2-4A9F-9B12-C6999002D654}" type="presOf" srcId="{290D52E7-62FD-4E42-99EE-F6BBBA8B0DC3}" destId="{CABF533B-581A-4CDF-AB8E-232B23C93234}" srcOrd="0" destOrd="0" presId="urn:microsoft.com/office/officeart/2005/8/layout/hList7"/>
    <dgm:cxn modelId="{0AE3BAA3-E06A-4C71-83D6-D1823707A649}" type="presOf" srcId="{86293FB0-EA15-41C4-9659-B48E2CE63FE7}" destId="{589AC2D4-EF8A-4E12-9E2C-6CC4DF9A24D0}" srcOrd="0" destOrd="0" presId="urn:microsoft.com/office/officeart/2005/8/layout/hList7"/>
    <dgm:cxn modelId="{1961EB3E-78DB-4276-8240-469D176D2B9D}" type="presOf" srcId="{B1E78A2B-5AC3-45DE-807F-6CD6E2E2893F}" destId="{8B7EF7F5-802D-40E1-9AC9-F2CC765EEAE9}" srcOrd="1" destOrd="0" presId="urn:microsoft.com/office/officeart/2005/8/layout/hList7"/>
    <dgm:cxn modelId="{2E13032B-B4DA-41F1-B3AA-BD5FABA4B11B}" type="presOf" srcId="{9D0A7176-2EA1-4847-A732-D188FB77C55B}" destId="{A04DF248-2004-41F3-AD08-DE75CE31967F}" srcOrd="0" destOrd="0" presId="urn:microsoft.com/office/officeart/2005/8/layout/hList7"/>
    <dgm:cxn modelId="{C6B53DF9-21D5-43DA-A617-5B6D3FD78879}" srcId="{D34916C2-1986-47BC-AF6D-D399EAFE6B30}" destId="{290D52E7-62FD-4E42-99EE-F6BBBA8B0DC3}" srcOrd="1" destOrd="0" parTransId="{B86CC903-60E7-491C-8E1C-861A5D23EF23}" sibTransId="{F655FFC0-DE17-4DEC-BC79-38251C72FE7C}"/>
    <dgm:cxn modelId="{FBC0D532-01A9-4CB4-82AF-4CD111E00E23}" type="presOf" srcId="{F655FFC0-DE17-4DEC-BC79-38251C72FE7C}" destId="{9B12AFF5-7900-450B-A302-6F41839C0494}" srcOrd="0" destOrd="0" presId="urn:microsoft.com/office/officeart/2005/8/layout/hList7"/>
    <dgm:cxn modelId="{4344DC48-7E16-4307-B7DA-601131421281}" type="presOf" srcId="{4D36FEE6-8B33-4F9C-B51F-48504942327C}" destId="{562C63F2-9E6A-4B95-AEF1-A60235EBE29F}" srcOrd="1" destOrd="0" presId="urn:microsoft.com/office/officeart/2005/8/layout/hList7"/>
    <dgm:cxn modelId="{6B7E5D80-E4C3-4EB9-B871-1B85431D83AC}" srcId="{D34916C2-1986-47BC-AF6D-D399EAFE6B30}" destId="{9D0A7176-2EA1-4847-A732-D188FB77C55B}" srcOrd="3" destOrd="0" parTransId="{E8DD7C98-ED45-4B8A-AA78-8F8AFFB0B942}" sibTransId="{86293FB0-EA15-41C4-9659-B48E2CE63FE7}"/>
    <dgm:cxn modelId="{AC9EF256-A3FA-4A44-8C4D-EA7A067CCD4A}" type="presOf" srcId="{1A60CF45-A0DF-449C-B545-5D5E56F71EA9}" destId="{857E8298-AF65-4486-8C5B-B16DFF3882E7}" srcOrd="0" destOrd="0" presId="urn:microsoft.com/office/officeart/2005/8/layout/hList7"/>
    <dgm:cxn modelId="{24A1360D-C381-4528-A809-E4D36AE318B4}" type="presParOf" srcId="{2C493F36-43DA-49C5-9450-EEE27BB29977}" destId="{C7128B23-CF84-475A-B192-E74D3E0F497D}" srcOrd="0" destOrd="0" presId="urn:microsoft.com/office/officeart/2005/8/layout/hList7"/>
    <dgm:cxn modelId="{7F0FF4D0-029A-497D-BB19-71A8CDE674FF}" type="presParOf" srcId="{2C493F36-43DA-49C5-9450-EEE27BB29977}" destId="{676E753E-590D-458C-950F-430CA8AEC270}" srcOrd="1" destOrd="0" presId="urn:microsoft.com/office/officeart/2005/8/layout/hList7"/>
    <dgm:cxn modelId="{5004EB87-7CE7-4BEA-8838-A9B912CB1DE9}" type="presParOf" srcId="{676E753E-590D-458C-950F-430CA8AEC270}" destId="{A8ECFBA8-EF62-4596-A0C5-0B4C0B7F4EBF}" srcOrd="0" destOrd="0" presId="urn:microsoft.com/office/officeart/2005/8/layout/hList7"/>
    <dgm:cxn modelId="{C894E46B-8FA3-40A1-998E-631E0EC73D99}" type="presParOf" srcId="{A8ECFBA8-EF62-4596-A0C5-0B4C0B7F4EBF}" destId="{FBC3924C-5921-47AA-9C9C-930060103A55}" srcOrd="0" destOrd="0" presId="urn:microsoft.com/office/officeart/2005/8/layout/hList7"/>
    <dgm:cxn modelId="{264D1CFC-2AC3-469E-A47D-112615FCFE3C}" type="presParOf" srcId="{A8ECFBA8-EF62-4596-A0C5-0B4C0B7F4EBF}" destId="{D080D933-75D0-4919-8DF9-8510586CE486}" srcOrd="1" destOrd="0" presId="urn:microsoft.com/office/officeart/2005/8/layout/hList7"/>
    <dgm:cxn modelId="{79904EDC-3217-4814-A124-8618B9215D6B}" type="presParOf" srcId="{A8ECFBA8-EF62-4596-A0C5-0B4C0B7F4EBF}" destId="{390506B3-504A-48C5-9B82-BCDC9B5F3588}" srcOrd="2" destOrd="0" presId="urn:microsoft.com/office/officeart/2005/8/layout/hList7"/>
    <dgm:cxn modelId="{ABA1277A-6343-409D-A0AC-00FA1E4702CB}" type="presParOf" srcId="{A8ECFBA8-EF62-4596-A0C5-0B4C0B7F4EBF}" destId="{E02C56C4-4A0B-41D4-B986-24E9B2BB0284}" srcOrd="3" destOrd="0" presId="urn:microsoft.com/office/officeart/2005/8/layout/hList7"/>
    <dgm:cxn modelId="{1072B136-67E1-442B-BC04-0F212ABABFE0}" type="presParOf" srcId="{676E753E-590D-458C-950F-430CA8AEC270}" destId="{F3DE201F-671E-4EC4-B429-525FD514B19A}" srcOrd="1" destOrd="0" presId="urn:microsoft.com/office/officeart/2005/8/layout/hList7"/>
    <dgm:cxn modelId="{DE978B31-A000-4764-8E80-12C9FF77CA0F}" type="presParOf" srcId="{676E753E-590D-458C-950F-430CA8AEC270}" destId="{BDD7688D-ADC1-4C88-840F-2CE9A8050485}" srcOrd="2" destOrd="0" presId="urn:microsoft.com/office/officeart/2005/8/layout/hList7"/>
    <dgm:cxn modelId="{CD00CA53-DD1F-4141-9163-C8A8BB1484E3}" type="presParOf" srcId="{BDD7688D-ADC1-4C88-840F-2CE9A8050485}" destId="{CABF533B-581A-4CDF-AB8E-232B23C93234}" srcOrd="0" destOrd="0" presId="urn:microsoft.com/office/officeart/2005/8/layout/hList7"/>
    <dgm:cxn modelId="{6D8D75DC-B471-43B3-A0BC-6DFD66F5A91B}" type="presParOf" srcId="{BDD7688D-ADC1-4C88-840F-2CE9A8050485}" destId="{949053F7-9A02-47AD-905D-C913C1E81EE0}" srcOrd="1" destOrd="0" presId="urn:microsoft.com/office/officeart/2005/8/layout/hList7"/>
    <dgm:cxn modelId="{0BB3DFB6-735C-4D1B-9E78-5F6EBC0911B1}" type="presParOf" srcId="{BDD7688D-ADC1-4C88-840F-2CE9A8050485}" destId="{F95ACBD8-7933-401E-91CB-1E038EAD3081}" srcOrd="2" destOrd="0" presId="urn:microsoft.com/office/officeart/2005/8/layout/hList7"/>
    <dgm:cxn modelId="{737EEF96-9563-442C-95E9-52EF71612FC2}" type="presParOf" srcId="{BDD7688D-ADC1-4C88-840F-2CE9A8050485}" destId="{52D8198D-70C3-4B20-A3A4-A6CB490709D1}" srcOrd="3" destOrd="0" presId="urn:microsoft.com/office/officeart/2005/8/layout/hList7"/>
    <dgm:cxn modelId="{2CD0C7C7-6C6A-455F-82B2-BA21A07C93CF}" type="presParOf" srcId="{676E753E-590D-458C-950F-430CA8AEC270}" destId="{9B12AFF5-7900-450B-A302-6F41839C0494}" srcOrd="3" destOrd="0" presId="urn:microsoft.com/office/officeart/2005/8/layout/hList7"/>
    <dgm:cxn modelId="{DB7B4E04-9969-46ED-9633-4C6F20D7B203}" type="presParOf" srcId="{676E753E-590D-458C-950F-430CA8AEC270}" destId="{D9C039E8-111A-4A54-9EDB-12393792D765}" srcOrd="4" destOrd="0" presId="urn:microsoft.com/office/officeart/2005/8/layout/hList7"/>
    <dgm:cxn modelId="{8D8ACFC1-EBBE-419B-9580-C3BA3C11AB78}" type="presParOf" srcId="{D9C039E8-111A-4A54-9EDB-12393792D765}" destId="{FF941132-1E33-4FC3-B742-FEBE3887EDF5}" srcOrd="0" destOrd="0" presId="urn:microsoft.com/office/officeart/2005/8/layout/hList7"/>
    <dgm:cxn modelId="{2E56E006-508D-483A-B18D-8FD078370711}" type="presParOf" srcId="{D9C039E8-111A-4A54-9EDB-12393792D765}" destId="{8B7EF7F5-802D-40E1-9AC9-F2CC765EEAE9}" srcOrd="1" destOrd="0" presId="urn:microsoft.com/office/officeart/2005/8/layout/hList7"/>
    <dgm:cxn modelId="{B1535318-564F-4BAE-AAF8-3814669753A7}" type="presParOf" srcId="{D9C039E8-111A-4A54-9EDB-12393792D765}" destId="{F9C0A23C-48B1-4F79-A6A1-3BB0D900C43C}" srcOrd="2" destOrd="0" presId="urn:microsoft.com/office/officeart/2005/8/layout/hList7"/>
    <dgm:cxn modelId="{3BD12A23-3093-4556-AC67-39B059CCA26D}" type="presParOf" srcId="{D9C039E8-111A-4A54-9EDB-12393792D765}" destId="{DDCA8A03-0BA7-4B5D-AA27-0105B8A8EC05}" srcOrd="3" destOrd="0" presId="urn:microsoft.com/office/officeart/2005/8/layout/hList7"/>
    <dgm:cxn modelId="{B3A2A68E-2DD0-4448-9B58-77131D0F033A}" type="presParOf" srcId="{676E753E-590D-458C-950F-430CA8AEC270}" destId="{857E8298-AF65-4486-8C5B-B16DFF3882E7}" srcOrd="5" destOrd="0" presId="urn:microsoft.com/office/officeart/2005/8/layout/hList7"/>
    <dgm:cxn modelId="{53FD0209-C7D6-4BB6-9B99-A8AAEDEAF538}" type="presParOf" srcId="{676E753E-590D-458C-950F-430CA8AEC270}" destId="{7174C3BA-464D-4B78-A0C1-2C87127EB550}" srcOrd="6" destOrd="0" presId="urn:microsoft.com/office/officeart/2005/8/layout/hList7"/>
    <dgm:cxn modelId="{CF5644B4-4934-4934-8F75-98A62AD2F8F3}" type="presParOf" srcId="{7174C3BA-464D-4B78-A0C1-2C87127EB550}" destId="{A04DF248-2004-41F3-AD08-DE75CE31967F}" srcOrd="0" destOrd="0" presId="urn:microsoft.com/office/officeart/2005/8/layout/hList7"/>
    <dgm:cxn modelId="{4C692874-4DCE-434B-819B-F85F9FB26EE0}" type="presParOf" srcId="{7174C3BA-464D-4B78-A0C1-2C87127EB550}" destId="{06CF4EAC-8752-4994-8144-E1B19ACA62A1}" srcOrd="1" destOrd="0" presId="urn:microsoft.com/office/officeart/2005/8/layout/hList7"/>
    <dgm:cxn modelId="{3C7A4E75-7387-472C-8A6B-DC4B89C4F038}" type="presParOf" srcId="{7174C3BA-464D-4B78-A0C1-2C87127EB550}" destId="{F18DA027-4420-469A-842F-D071D5FE24CB}" srcOrd="2" destOrd="0" presId="urn:microsoft.com/office/officeart/2005/8/layout/hList7"/>
    <dgm:cxn modelId="{21DAFC9C-A657-4245-B21F-867834CF1CC9}" type="presParOf" srcId="{7174C3BA-464D-4B78-A0C1-2C87127EB550}" destId="{BE6D8FC3-AB86-4884-B0A5-577E6CCFB6FB}" srcOrd="3" destOrd="0" presId="urn:microsoft.com/office/officeart/2005/8/layout/hList7"/>
    <dgm:cxn modelId="{FFF968AB-6A83-4D67-BA7B-F78540061218}" type="presParOf" srcId="{676E753E-590D-458C-950F-430CA8AEC270}" destId="{589AC2D4-EF8A-4E12-9E2C-6CC4DF9A24D0}" srcOrd="7" destOrd="0" presId="urn:microsoft.com/office/officeart/2005/8/layout/hList7"/>
    <dgm:cxn modelId="{619DB6F0-104E-4FDF-8223-D13FFFFDA8A1}" type="presParOf" srcId="{676E753E-590D-458C-950F-430CA8AEC270}" destId="{74F62695-948A-4B31-A6EE-FB16C4A0EE17}" srcOrd="8" destOrd="0" presId="urn:microsoft.com/office/officeart/2005/8/layout/hList7"/>
    <dgm:cxn modelId="{7E1D3CBF-9D87-4DDC-AAC4-BE683A3DA505}" type="presParOf" srcId="{74F62695-948A-4B31-A6EE-FB16C4A0EE17}" destId="{5D683962-CA49-4A65-872B-EE5A35F42408}" srcOrd="0" destOrd="0" presId="urn:microsoft.com/office/officeart/2005/8/layout/hList7"/>
    <dgm:cxn modelId="{F70CFD2F-F3BB-48A7-9F34-733F12458D5B}" type="presParOf" srcId="{74F62695-948A-4B31-A6EE-FB16C4A0EE17}" destId="{562C63F2-9E6A-4B95-AEF1-A60235EBE29F}" srcOrd="1" destOrd="0" presId="urn:microsoft.com/office/officeart/2005/8/layout/hList7"/>
    <dgm:cxn modelId="{1AECF250-B7BB-4802-9B56-55B73F06F732}" type="presParOf" srcId="{74F62695-948A-4B31-A6EE-FB16C4A0EE17}" destId="{8804A351-60F9-451C-B0F0-AD505D2FD8DC}" srcOrd="2" destOrd="0" presId="urn:microsoft.com/office/officeart/2005/8/layout/hList7"/>
    <dgm:cxn modelId="{6558E615-A8D5-4490-8193-B68DB54CBA6E}" type="presParOf" srcId="{74F62695-948A-4B31-A6EE-FB16C4A0EE17}" destId="{459BBBE2-0CBD-4B8A-9B13-F8A29B65DDC5}" srcOrd="3" destOrd="0" presId="urn:microsoft.com/office/officeart/2005/8/layout/hList7"/>
    <dgm:cxn modelId="{04678D33-E5EE-4AAF-9143-3CDF35E6890B}" type="presParOf" srcId="{676E753E-590D-458C-950F-430CA8AEC270}" destId="{20E18429-878E-4061-AA64-FD4C6C114ED8}" srcOrd="9" destOrd="0" presId="urn:microsoft.com/office/officeart/2005/8/layout/hList7"/>
    <dgm:cxn modelId="{61F92086-0EBA-416A-AB69-0366336845C0}" type="presParOf" srcId="{676E753E-590D-458C-950F-430CA8AEC270}" destId="{F2C4B616-2739-4CBA-B745-935E76BBFCBF}" srcOrd="10" destOrd="0" presId="urn:microsoft.com/office/officeart/2005/8/layout/hList7"/>
    <dgm:cxn modelId="{8390B9BF-8FC1-443D-AEA8-8AD0F2DF6C79}" type="presParOf" srcId="{F2C4B616-2739-4CBA-B745-935E76BBFCBF}" destId="{4EA26A78-CE89-47F2-8460-24659D3DB26F}" srcOrd="0" destOrd="0" presId="urn:microsoft.com/office/officeart/2005/8/layout/hList7"/>
    <dgm:cxn modelId="{F00E35CE-85FE-4090-B750-608626315258}" type="presParOf" srcId="{F2C4B616-2739-4CBA-B745-935E76BBFCBF}" destId="{45E7E2CD-F13E-4B96-A5CB-0D5BBBE35559}" srcOrd="1" destOrd="0" presId="urn:microsoft.com/office/officeart/2005/8/layout/hList7"/>
    <dgm:cxn modelId="{38F38428-3677-4AB7-853F-A3CC2D0F87D5}" type="presParOf" srcId="{F2C4B616-2739-4CBA-B745-935E76BBFCBF}" destId="{2834BD0D-38A4-46E4-B952-4EC32668701C}" srcOrd="2" destOrd="0" presId="urn:microsoft.com/office/officeart/2005/8/layout/hList7"/>
    <dgm:cxn modelId="{8D8CCD9C-BC57-472A-87C2-DEA6D98B7002}" type="presParOf" srcId="{F2C4B616-2739-4CBA-B745-935E76BBFCBF}" destId="{99CF732F-AFA6-4723-A5A7-082591576AFF}" srcOrd="3" destOrd="0" presId="urn:microsoft.com/office/officeart/2005/8/layout/hList7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B15C89B-F956-401A-9384-4002ABF58DC6}">
      <dsp:nvSpPr>
        <dsp:cNvPr id="0" name=""/>
        <dsp:cNvSpPr/>
      </dsp:nvSpPr>
      <dsp:spPr>
        <a:xfrm>
          <a:off x="473536" y="2794094"/>
          <a:ext cx="1078593" cy="53929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AR" sz="1500" kern="1200"/>
            <a:t>LDAP Domain</a:t>
          </a:r>
        </a:p>
      </dsp:txBody>
      <dsp:txXfrm>
        <a:off x="489331" y="2809889"/>
        <a:ext cx="1047003" cy="507706"/>
      </dsp:txXfrm>
    </dsp:sp>
    <dsp:sp modelId="{BEE0C368-91B8-48D3-831F-3DDB6B38913D}">
      <dsp:nvSpPr>
        <dsp:cNvPr id="0" name=""/>
        <dsp:cNvSpPr/>
      </dsp:nvSpPr>
      <dsp:spPr>
        <a:xfrm rot="16874489">
          <a:off x="661283" y="1970487"/>
          <a:ext cx="2213129" cy="15842"/>
        </a:xfrm>
        <a:custGeom>
          <a:avLst/>
          <a:gdLst/>
          <a:ahLst/>
          <a:cxnLst/>
          <a:rect l="0" t="0" r="0" b="0"/>
          <a:pathLst>
            <a:path>
              <a:moveTo>
                <a:pt x="0" y="7921"/>
              </a:moveTo>
              <a:lnTo>
                <a:pt x="2213129" y="7921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AR" sz="800" kern="1200"/>
        </a:p>
      </dsp:txBody>
      <dsp:txXfrm>
        <a:off x="1712520" y="1923080"/>
        <a:ext cx="110656" cy="110656"/>
      </dsp:txXfrm>
    </dsp:sp>
    <dsp:sp modelId="{996557FD-C474-45C3-8F35-8C7909C65C2A}">
      <dsp:nvSpPr>
        <dsp:cNvPr id="0" name=""/>
        <dsp:cNvSpPr/>
      </dsp:nvSpPr>
      <dsp:spPr>
        <a:xfrm>
          <a:off x="1983566" y="623426"/>
          <a:ext cx="1078593" cy="53929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AR" sz="1500" kern="1200"/>
            <a:t>Title</a:t>
          </a:r>
        </a:p>
      </dsp:txBody>
      <dsp:txXfrm>
        <a:off x="1999361" y="639221"/>
        <a:ext cx="1047003" cy="507706"/>
      </dsp:txXfrm>
    </dsp:sp>
    <dsp:sp modelId="{F5B8889A-7B1B-4F9D-98C5-2E2C035A89F8}">
      <dsp:nvSpPr>
        <dsp:cNvPr id="0" name=""/>
        <dsp:cNvSpPr/>
      </dsp:nvSpPr>
      <dsp:spPr>
        <a:xfrm rot="18289469">
          <a:off x="2900130" y="575057"/>
          <a:ext cx="755496" cy="15842"/>
        </a:xfrm>
        <a:custGeom>
          <a:avLst/>
          <a:gdLst/>
          <a:ahLst/>
          <a:cxnLst/>
          <a:rect l="0" t="0" r="0" b="0"/>
          <a:pathLst>
            <a:path>
              <a:moveTo>
                <a:pt x="0" y="7921"/>
              </a:moveTo>
              <a:lnTo>
                <a:pt x="755496" y="7921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AR" sz="500" kern="1200"/>
        </a:p>
      </dsp:txBody>
      <dsp:txXfrm>
        <a:off x="3258991" y="564091"/>
        <a:ext cx="37774" cy="37774"/>
      </dsp:txXfrm>
    </dsp:sp>
    <dsp:sp modelId="{DCF87C6C-4673-4999-B978-B00853CE058F}">
      <dsp:nvSpPr>
        <dsp:cNvPr id="0" name=""/>
        <dsp:cNvSpPr/>
      </dsp:nvSpPr>
      <dsp:spPr>
        <a:xfrm>
          <a:off x="3493597" y="3235"/>
          <a:ext cx="1078593" cy="53929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6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AR" sz="1500" kern="1200"/>
            <a:t>CEO</a:t>
          </a:r>
        </a:p>
      </dsp:txBody>
      <dsp:txXfrm>
        <a:off x="3509392" y="19030"/>
        <a:ext cx="1047003" cy="507706"/>
      </dsp:txXfrm>
    </dsp:sp>
    <dsp:sp modelId="{A824E9E1-3975-48DD-8BB1-16379DF79407}">
      <dsp:nvSpPr>
        <dsp:cNvPr id="0" name=""/>
        <dsp:cNvSpPr/>
      </dsp:nvSpPr>
      <dsp:spPr>
        <a:xfrm>
          <a:off x="3062160" y="885153"/>
          <a:ext cx="431437" cy="15842"/>
        </a:xfrm>
        <a:custGeom>
          <a:avLst/>
          <a:gdLst/>
          <a:ahLst/>
          <a:cxnLst/>
          <a:rect l="0" t="0" r="0" b="0"/>
          <a:pathLst>
            <a:path>
              <a:moveTo>
                <a:pt x="0" y="7921"/>
              </a:moveTo>
              <a:lnTo>
                <a:pt x="431437" y="7921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AR" sz="500" kern="1200"/>
        </a:p>
      </dsp:txBody>
      <dsp:txXfrm>
        <a:off x="3267092" y="882288"/>
        <a:ext cx="21571" cy="21571"/>
      </dsp:txXfrm>
    </dsp:sp>
    <dsp:sp modelId="{FB982F87-6F35-43D6-841E-51788810657E}">
      <dsp:nvSpPr>
        <dsp:cNvPr id="0" name=""/>
        <dsp:cNvSpPr/>
      </dsp:nvSpPr>
      <dsp:spPr>
        <a:xfrm>
          <a:off x="3493597" y="623426"/>
          <a:ext cx="1078593" cy="53929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6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AR" sz="1500" kern="1200"/>
            <a:t>Lider</a:t>
          </a:r>
        </a:p>
      </dsp:txBody>
      <dsp:txXfrm>
        <a:off x="3509392" y="639221"/>
        <a:ext cx="1047003" cy="507706"/>
      </dsp:txXfrm>
    </dsp:sp>
    <dsp:sp modelId="{BD9F354A-17D8-4FEE-967D-41BFBA47930D}">
      <dsp:nvSpPr>
        <dsp:cNvPr id="0" name=""/>
        <dsp:cNvSpPr/>
      </dsp:nvSpPr>
      <dsp:spPr>
        <a:xfrm rot="3310531">
          <a:off x="2900130" y="1195248"/>
          <a:ext cx="755496" cy="15842"/>
        </a:xfrm>
        <a:custGeom>
          <a:avLst/>
          <a:gdLst/>
          <a:ahLst/>
          <a:cxnLst/>
          <a:rect l="0" t="0" r="0" b="0"/>
          <a:pathLst>
            <a:path>
              <a:moveTo>
                <a:pt x="0" y="7921"/>
              </a:moveTo>
              <a:lnTo>
                <a:pt x="755496" y="7921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AR" sz="500" kern="1200"/>
        </a:p>
      </dsp:txBody>
      <dsp:txXfrm>
        <a:off x="3258991" y="1184282"/>
        <a:ext cx="37774" cy="37774"/>
      </dsp:txXfrm>
    </dsp:sp>
    <dsp:sp modelId="{CF86637F-48A8-4223-89B6-3B32BA739379}">
      <dsp:nvSpPr>
        <dsp:cNvPr id="0" name=""/>
        <dsp:cNvSpPr/>
      </dsp:nvSpPr>
      <dsp:spPr>
        <a:xfrm>
          <a:off x="3493597" y="1243617"/>
          <a:ext cx="1078593" cy="53929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6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AR" sz="1500" kern="1200"/>
            <a:t>Analist</a:t>
          </a:r>
        </a:p>
      </dsp:txBody>
      <dsp:txXfrm>
        <a:off x="3509392" y="1259412"/>
        <a:ext cx="1047003" cy="507706"/>
      </dsp:txXfrm>
    </dsp:sp>
    <dsp:sp modelId="{F896F1E1-34BB-4CB3-BC84-55E760D1E317}">
      <dsp:nvSpPr>
        <dsp:cNvPr id="0" name=""/>
        <dsp:cNvSpPr/>
      </dsp:nvSpPr>
      <dsp:spPr>
        <a:xfrm>
          <a:off x="1552129" y="3055821"/>
          <a:ext cx="431437" cy="15842"/>
        </a:xfrm>
        <a:custGeom>
          <a:avLst/>
          <a:gdLst/>
          <a:ahLst/>
          <a:cxnLst/>
          <a:rect l="0" t="0" r="0" b="0"/>
          <a:pathLst>
            <a:path>
              <a:moveTo>
                <a:pt x="0" y="7921"/>
              </a:moveTo>
              <a:lnTo>
                <a:pt x="431437" y="7921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AR" sz="500" kern="1200"/>
        </a:p>
      </dsp:txBody>
      <dsp:txXfrm>
        <a:off x="1757062" y="3052957"/>
        <a:ext cx="21571" cy="21571"/>
      </dsp:txXfrm>
    </dsp:sp>
    <dsp:sp modelId="{B929425F-E6AF-436E-9953-49A6EBBC7280}">
      <dsp:nvSpPr>
        <dsp:cNvPr id="0" name=""/>
        <dsp:cNvSpPr/>
      </dsp:nvSpPr>
      <dsp:spPr>
        <a:xfrm>
          <a:off x="1983566" y="2794094"/>
          <a:ext cx="1078593" cy="53929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AR" sz="1500" kern="1200"/>
            <a:t>Market</a:t>
          </a:r>
        </a:p>
      </dsp:txBody>
      <dsp:txXfrm>
        <a:off x="1999361" y="2809889"/>
        <a:ext cx="1047003" cy="507706"/>
      </dsp:txXfrm>
    </dsp:sp>
    <dsp:sp modelId="{99B75C20-5FBE-4C0F-A09C-3CF22A1D78A0}">
      <dsp:nvSpPr>
        <dsp:cNvPr id="0" name=""/>
        <dsp:cNvSpPr/>
      </dsp:nvSpPr>
      <dsp:spPr>
        <a:xfrm rot="17692822">
          <a:off x="2765147" y="2590678"/>
          <a:ext cx="1025461" cy="15842"/>
        </a:xfrm>
        <a:custGeom>
          <a:avLst/>
          <a:gdLst/>
          <a:ahLst/>
          <a:cxnLst/>
          <a:rect l="0" t="0" r="0" b="0"/>
          <a:pathLst>
            <a:path>
              <a:moveTo>
                <a:pt x="0" y="7921"/>
              </a:moveTo>
              <a:lnTo>
                <a:pt x="1025461" y="7921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AR" sz="500" kern="1200"/>
        </a:p>
      </dsp:txBody>
      <dsp:txXfrm>
        <a:off x="3252242" y="2572963"/>
        <a:ext cx="51273" cy="51273"/>
      </dsp:txXfrm>
    </dsp:sp>
    <dsp:sp modelId="{22756E93-7911-4671-AC55-185939DCC574}">
      <dsp:nvSpPr>
        <dsp:cNvPr id="0" name=""/>
        <dsp:cNvSpPr/>
      </dsp:nvSpPr>
      <dsp:spPr>
        <a:xfrm>
          <a:off x="3493597" y="1863808"/>
          <a:ext cx="1078593" cy="53929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6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AR" sz="1500" kern="1200"/>
            <a:t>Core</a:t>
          </a:r>
        </a:p>
      </dsp:txBody>
      <dsp:txXfrm>
        <a:off x="3509392" y="1879603"/>
        <a:ext cx="1047003" cy="507706"/>
      </dsp:txXfrm>
    </dsp:sp>
    <dsp:sp modelId="{3139963E-2618-4DA0-B443-9D919459A96C}">
      <dsp:nvSpPr>
        <dsp:cNvPr id="0" name=""/>
        <dsp:cNvSpPr/>
      </dsp:nvSpPr>
      <dsp:spPr>
        <a:xfrm rot="19457599">
          <a:off x="3012220" y="2900774"/>
          <a:ext cx="531316" cy="15842"/>
        </a:xfrm>
        <a:custGeom>
          <a:avLst/>
          <a:gdLst/>
          <a:ahLst/>
          <a:cxnLst/>
          <a:rect l="0" t="0" r="0" b="0"/>
          <a:pathLst>
            <a:path>
              <a:moveTo>
                <a:pt x="0" y="7921"/>
              </a:moveTo>
              <a:lnTo>
                <a:pt x="531316" y="7921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AR" sz="500" kern="1200"/>
        </a:p>
      </dsp:txBody>
      <dsp:txXfrm>
        <a:off x="3264595" y="2895412"/>
        <a:ext cx="26565" cy="26565"/>
      </dsp:txXfrm>
    </dsp:sp>
    <dsp:sp modelId="{BC5CADB1-72E9-4C66-9EAA-4EEBCE5437A5}">
      <dsp:nvSpPr>
        <dsp:cNvPr id="0" name=""/>
        <dsp:cNvSpPr/>
      </dsp:nvSpPr>
      <dsp:spPr>
        <a:xfrm>
          <a:off x="3493597" y="2483999"/>
          <a:ext cx="1078593" cy="53929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6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AR" sz="1500" kern="1200"/>
            <a:t>AR</a:t>
          </a:r>
        </a:p>
      </dsp:txBody>
      <dsp:txXfrm>
        <a:off x="3509392" y="2499794"/>
        <a:ext cx="1047003" cy="507706"/>
      </dsp:txXfrm>
    </dsp:sp>
    <dsp:sp modelId="{8A443024-9F07-4B88-9851-4F99D3D22250}">
      <dsp:nvSpPr>
        <dsp:cNvPr id="0" name=""/>
        <dsp:cNvSpPr/>
      </dsp:nvSpPr>
      <dsp:spPr>
        <a:xfrm rot="2142401">
          <a:off x="3012220" y="3210869"/>
          <a:ext cx="531316" cy="15842"/>
        </a:xfrm>
        <a:custGeom>
          <a:avLst/>
          <a:gdLst/>
          <a:ahLst/>
          <a:cxnLst/>
          <a:rect l="0" t="0" r="0" b="0"/>
          <a:pathLst>
            <a:path>
              <a:moveTo>
                <a:pt x="0" y="7921"/>
              </a:moveTo>
              <a:lnTo>
                <a:pt x="531316" y="7921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AR" sz="500" kern="1200"/>
        </a:p>
      </dsp:txBody>
      <dsp:txXfrm>
        <a:off x="3264595" y="3205507"/>
        <a:ext cx="26565" cy="26565"/>
      </dsp:txXfrm>
    </dsp:sp>
    <dsp:sp modelId="{05910EE0-4759-4F03-A2A8-4ADC0C4AC3FC}">
      <dsp:nvSpPr>
        <dsp:cNvPr id="0" name=""/>
        <dsp:cNvSpPr/>
      </dsp:nvSpPr>
      <dsp:spPr>
        <a:xfrm>
          <a:off x="3493597" y="3104190"/>
          <a:ext cx="1078593" cy="53929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6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AR" sz="1500" kern="1200"/>
            <a:t>BR</a:t>
          </a:r>
        </a:p>
      </dsp:txBody>
      <dsp:txXfrm>
        <a:off x="3509392" y="3119985"/>
        <a:ext cx="1047003" cy="507706"/>
      </dsp:txXfrm>
    </dsp:sp>
    <dsp:sp modelId="{F8F04140-AE42-4413-A17F-689F174A01A6}">
      <dsp:nvSpPr>
        <dsp:cNvPr id="0" name=""/>
        <dsp:cNvSpPr/>
      </dsp:nvSpPr>
      <dsp:spPr>
        <a:xfrm rot="3907178">
          <a:off x="2765147" y="3520965"/>
          <a:ext cx="1025461" cy="15842"/>
        </a:xfrm>
        <a:custGeom>
          <a:avLst/>
          <a:gdLst/>
          <a:ahLst/>
          <a:cxnLst/>
          <a:rect l="0" t="0" r="0" b="0"/>
          <a:pathLst>
            <a:path>
              <a:moveTo>
                <a:pt x="0" y="7921"/>
              </a:moveTo>
              <a:lnTo>
                <a:pt x="1025461" y="7921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AR" sz="500" kern="1200"/>
        </a:p>
      </dsp:txBody>
      <dsp:txXfrm>
        <a:off x="3252242" y="3503249"/>
        <a:ext cx="51273" cy="51273"/>
      </dsp:txXfrm>
    </dsp:sp>
    <dsp:sp modelId="{1657EA34-91DC-4F83-AEE1-45D7B460419F}">
      <dsp:nvSpPr>
        <dsp:cNvPr id="0" name=""/>
        <dsp:cNvSpPr/>
      </dsp:nvSpPr>
      <dsp:spPr>
        <a:xfrm>
          <a:off x="3493597" y="3724381"/>
          <a:ext cx="1078593" cy="53929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6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AR" sz="1500" kern="1200"/>
            <a:t>IN</a:t>
          </a:r>
        </a:p>
      </dsp:txBody>
      <dsp:txXfrm>
        <a:off x="3509392" y="3740176"/>
        <a:ext cx="1047003" cy="507706"/>
      </dsp:txXfrm>
    </dsp:sp>
    <dsp:sp modelId="{7BED4291-AE65-4D64-84B1-4B65212D7EAE}">
      <dsp:nvSpPr>
        <dsp:cNvPr id="0" name=""/>
        <dsp:cNvSpPr/>
      </dsp:nvSpPr>
      <dsp:spPr>
        <a:xfrm rot="4725511">
          <a:off x="661283" y="4141156"/>
          <a:ext cx="2213129" cy="15842"/>
        </a:xfrm>
        <a:custGeom>
          <a:avLst/>
          <a:gdLst/>
          <a:ahLst/>
          <a:cxnLst/>
          <a:rect l="0" t="0" r="0" b="0"/>
          <a:pathLst>
            <a:path>
              <a:moveTo>
                <a:pt x="0" y="7921"/>
              </a:moveTo>
              <a:lnTo>
                <a:pt x="2213129" y="7921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AR" sz="800" kern="1200"/>
        </a:p>
      </dsp:txBody>
      <dsp:txXfrm>
        <a:off x="1712520" y="4093749"/>
        <a:ext cx="110656" cy="110656"/>
      </dsp:txXfrm>
    </dsp:sp>
    <dsp:sp modelId="{7D70A0D2-0F7E-4C34-BF69-5AA97D384028}">
      <dsp:nvSpPr>
        <dsp:cNvPr id="0" name=""/>
        <dsp:cNvSpPr/>
      </dsp:nvSpPr>
      <dsp:spPr>
        <a:xfrm>
          <a:off x="1983566" y="4964763"/>
          <a:ext cx="1078593" cy="53929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AR" sz="1500" kern="1200"/>
            <a:t>USR</a:t>
          </a:r>
        </a:p>
      </dsp:txBody>
      <dsp:txXfrm>
        <a:off x="1999361" y="4980558"/>
        <a:ext cx="1047003" cy="507706"/>
      </dsp:txXfrm>
    </dsp:sp>
    <dsp:sp modelId="{A201100E-F4C3-4258-890B-09E0A1098DAA}">
      <dsp:nvSpPr>
        <dsp:cNvPr id="0" name=""/>
        <dsp:cNvSpPr/>
      </dsp:nvSpPr>
      <dsp:spPr>
        <a:xfrm rot="18289469">
          <a:off x="2900130" y="4916394"/>
          <a:ext cx="755496" cy="15842"/>
        </a:xfrm>
        <a:custGeom>
          <a:avLst/>
          <a:gdLst/>
          <a:ahLst/>
          <a:cxnLst/>
          <a:rect l="0" t="0" r="0" b="0"/>
          <a:pathLst>
            <a:path>
              <a:moveTo>
                <a:pt x="0" y="7921"/>
              </a:moveTo>
              <a:lnTo>
                <a:pt x="755496" y="7921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AR" sz="500" kern="1200"/>
        </a:p>
      </dsp:txBody>
      <dsp:txXfrm>
        <a:off x="3258991" y="4905428"/>
        <a:ext cx="37774" cy="37774"/>
      </dsp:txXfrm>
    </dsp:sp>
    <dsp:sp modelId="{EAD44704-BF9E-4328-945D-967A76B7C0CA}">
      <dsp:nvSpPr>
        <dsp:cNvPr id="0" name=""/>
        <dsp:cNvSpPr/>
      </dsp:nvSpPr>
      <dsp:spPr>
        <a:xfrm>
          <a:off x="3493597" y="4344572"/>
          <a:ext cx="1078593" cy="53929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6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AR" sz="1500" kern="1200"/>
            <a:t>Usr1</a:t>
          </a:r>
        </a:p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AR" sz="1500" kern="1200"/>
            <a:t>Analist-IN </a:t>
          </a:r>
        </a:p>
      </dsp:txBody>
      <dsp:txXfrm>
        <a:off x="3509392" y="4360367"/>
        <a:ext cx="1047003" cy="507706"/>
      </dsp:txXfrm>
    </dsp:sp>
    <dsp:sp modelId="{EDC1E536-1CEB-4EE2-947A-9519603C969B}">
      <dsp:nvSpPr>
        <dsp:cNvPr id="0" name=""/>
        <dsp:cNvSpPr/>
      </dsp:nvSpPr>
      <dsp:spPr>
        <a:xfrm>
          <a:off x="3062160" y="5226490"/>
          <a:ext cx="431437" cy="15842"/>
        </a:xfrm>
        <a:custGeom>
          <a:avLst/>
          <a:gdLst/>
          <a:ahLst/>
          <a:cxnLst/>
          <a:rect l="0" t="0" r="0" b="0"/>
          <a:pathLst>
            <a:path>
              <a:moveTo>
                <a:pt x="0" y="7921"/>
              </a:moveTo>
              <a:lnTo>
                <a:pt x="431437" y="7921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AR" sz="500" kern="1200"/>
        </a:p>
      </dsp:txBody>
      <dsp:txXfrm>
        <a:off x="3267092" y="5223625"/>
        <a:ext cx="21571" cy="21571"/>
      </dsp:txXfrm>
    </dsp:sp>
    <dsp:sp modelId="{7C2D9550-1078-4D12-AF46-7EFE6813329C}">
      <dsp:nvSpPr>
        <dsp:cNvPr id="0" name=""/>
        <dsp:cNvSpPr/>
      </dsp:nvSpPr>
      <dsp:spPr>
        <a:xfrm>
          <a:off x="3493597" y="4964763"/>
          <a:ext cx="1078593" cy="53929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6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AR" sz="1500" kern="1200" dirty="0"/>
            <a:t>Usr2</a:t>
          </a:r>
        </a:p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AR" sz="1500" kern="1200" dirty="0" err="1"/>
            <a:t>Lider</a:t>
          </a:r>
          <a:r>
            <a:rPr lang="es-AR" sz="1500" kern="1200" dirty="0"/>
            <a:t>-BR</a:t>
          </a:r>
        </a:p>
      </dsp:txBody>
      <dsp:txXfrm>
        <a:off x="3509392" y="4980558"/>
        <a:ext cx="1047003" cy="507706"/>
      </dsp:txXfrm>
    </dsp:sp>
    <dsp:sp modelId="{48762D83-4065-45E8-811D-B780F2303ACA}">
      <dsp:nvSpPr>
        <dsp:cNvPr id="0" name=""/>
        <dsp:cNvSpPr/>
      </dsp:nvSpPr>
      <dsp:spPr>
        <a:xfrm rot="3173426">
          <a:off x="2907922" y="5536586"/>
          <a:ext cx="777685" cy="15842"/>
        </a:xfrm>
        <a:custGeom>
          <a:avLst/>
          <a:gdLst/>
          <a:ahLst/>
          <a:cxnLst/>
          <a:rect l="0" t="0" r="0" b="0"/>
          <a:pathLst>
            <a:path>
              <a:moveTo>
                <a:pt x="0" y="7921"/>
              </a:moveTo>
              <a:lnTo>
                <a:pt x="777685" y="7921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AR" sz="500" kern="1200"/>
        </a:p>
      </dsp:txBody>
      <dsp:txXfrm>
        <a:off x="3277322" y="5525065"/>
        <a:ext cx="38884" cy="38884"/>
      </dsp:txXfrm>
    </dsp:sp>
    <dsp:sp modelId="{D0C0129F-EB64-41AF-AA78-5B9932B66081}">
      <dsp:nvSpPr>
        <dsp:cNvPr id="0" name=""/>
        <dsp:cNvSpPr/>
      </dsp:nvSpPr>
      <dsp:spPr>
        <a:xfrm>
          <a:off x="3531369" y="5584954"/>
          <a:ext cx="1078593" cy="53929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6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AR" sz="1500" kern="1200"/>
            <a:t>Usr3</a:t>
          </a:r>
        </a:p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AR" sz="1500" kern="1200"/>
            <a:t>CEO-Core</a:t>
          </a:r>
        </a:p>
      </dsp:txBody>
      <dsp:txXfrm>
        <a:off x="3547164" y="5600749"/>
        <a:ext cx="1047003" cy="50770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B15C89B-F956-401A-9384-4002ABF58DC6}">
      <dsp:nvSpPr>
        <dsp:cNvPr id="0" name=""/>
        <dsp:cNvSpPr/>
      </dsp:nvSpPr>
      <dsp:spPr>
        <a:xfrm>
          <a:off x="170750" y="2751396"/>
          <a:ext cx="956730" cy="47836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AR" sz="1500" kern="1200"/>
            <a:t>LDAP Domain</a:t>
          </a:r>
        </a:p>
      </dsp:txBody>
      <dsp:txXfrm>
        <a:off x="184761" y="2765407"/>
        <a:ext cx="928708" cy="450343"/>
      </dsp:txXfrm>
    </dsp:sp>
    <dsp:sp modelId="{BEE0C368-91B8-48D3-831F-3DDB6B38913D}">
      <dsp:nvSpPr>
        <dsp:cNvPr id="0" name=""/>
        <dsp:cNvSpPr/>
      </dsp:nvSpPr>
      <dsp:spPr>
        <a:xfrm rot="16983315">
          <a:off x="471751" y="2158807"/>
          <a:ext cx="1694148" cy="13183"/>
        </a:xfrm>
        <a:custGeom>
          <a:avLst/>
          <a:gdLst/>
          <a:ahLst/>
          <a:cxnLst/>
          <a:rect l="0" t="0" r="0" b="0"/>
          <a:pathLst>
            <a:path>
              <a:moveTo>
                <a:pt x="0" y="6591"/>
              </a:moveTo>
              <a:lnTo>
                <a:pt x="1694148" y="6591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AR" sz="600" kern="1200"/>
        </a:p>
      </dsp:txBody>
      <dsp:txXfrm>
        <a:off x="1276472" y="2123045"/>
        <a:ext cx="84707" cy="84707"/>
      </dsp:txXfrm>
    </dsp:sp>
    <dsp:sp modelId="{996557FD-C474-45C3-8F35-8C7909C65C2A}">
      <dsp:nvSpPr>
        <dsp:cNvPr id="0" name=""/>
        <dsp:cNvSpPr/>
      </dsp:nvSpPr>
      <dsp:spPr>
        <a:xfrm>
          <a:off x="1510172" y="1101036"/>
          <a:ext cx="956730" cy="47836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AR" sz="1500" kern="1200"/>
            <a:t>Apps</a:t>
          </a:r>
        </a:p>
      </dsp:txBody>
      <dsp:txXfrm>
        <a:off x="1524183" y="1115047"/>
        <a:ext cx="928708" cy="450343"/>
      </dsp:txXfrm>
    </dsp:sp>
    <dsp:sp modelId="{F5B8889A-7B1B-4F9D-98C5-2E2C035A89F8}">
      <dsp:nvSpPr>
        <dsp:cNvPr id="0" name=""/>
        <dsp:cNvSpPr/>
      </dsp:nvSpPr>
      <dsp:spPr>
        <a:xfrm rot="17692822">
          <a:off x="2203447" y="921037"/>
          <a:ext cx="909601" cy="13183"/>
        </a:xfrm>
        <a:custGeom>
          <a:avLst/>
          <a:gdLst/>
          <a:ahLst/>
          <a:cxnLst/>
          <a:rect l="0" t="0" r="0" b="0"/>
          <a:pathLst>
            <a:path>
              <a:moveTo>
                <a:pt x="0" y="6591"/>
              </a:moveTo>
              <a:lnTo>
                <a:pt x="909601" y="6591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AR" sz="500" kern="1200"/>
        </a:p>
      </dsp:txBody>
      <dsp:txXfrm>
        <a:off x="2635508" y="904889"/>
        <a:ext cx="45480" cy="45480"/>
      </dsp:txXfrm>
    </dsp:sp>
    <dsp:sp modelId="{DCF87C6C-4673-4999-B978-B00853CE058F}">
      <dsp:nvSpPr>
        <dsp:cNvPr id="0" name=""/>
        <dsp:cNvSpPr/>
      </dsp:nvSpPr>
      <dsp:spPr>
        <a:xfrm>
          <a:off x="2849594" y="275857"/>
          <a:ext cx="956730" cy="47836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6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AR" sz="1500" kern="1200"/>
            <a:t>App1</a:t>
          </a:r>
        </a:p>
      </dsp:txBody>
      <dsp:txXfrm>
        <a:off x="2863605" y="289868"/>
        <a:ext cx="928708" cy="450343"/>
      </dsp:txXfrm>
    </dsp:sp>
    <dsp:sp modelId="{5B57114C-2C34-4017-97D5-4F3C660FE8A4}">
      <dsp:nvSpPr>
        <dsp:cNvPr id="0" name=""/>
        <dsp:cNvSpPr/>
      </dsp:nvSpPr>
      <dsp:spPr>
        <a:xfrm rot="19457599">
          <a:off x="3762027" y="370917"/>
          <a:ext cx="471286" cy="13183"/>
        </a:xfrm>
        <a:custGeom>
          <a:avLst/>
          <a:gdLst/>
          <a:ahLst/>
          <a:cxnLst/>
          <a:rect l="0" t="0" r="0" b="0"/>
          <a:pathLst>
            <a:path>
              <a:moveTo>
                <a:pt x="0" y="6591"/>
              </a:moveTo>
              <a:lnTo>
                <a:pt x="471286" y="6591"/>
              </a:lnTo>
            </a:path>
          </a:pathLst>
        </a:cu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AR" sz="500" kern="1200"/>
        </a:p>
      </dsp:txBody>
      <dsp:txXfrm>
        <a:off x="3985888" y="365727"/>
        <a:ext cx="23564" cy="23564"/>
      </dsp:txXfrm>
    </dsp:sp>
    <dsp:sp modelId="{BF91F129-3136-4D2C-82CC-29EDF1B101A1}">
      <dsp:nvSpPr>
        <dsp:cNvPr id="0" name=""/>
        <dsp:cNvSpPr/>
      </dsp:nvSpPr>
      <dsp:spPr>
        <a:xfrm>
          <a:off x="4189016" y="797"/>
          <a:ext cx="956730" cy="47836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AR" sz="1500" kern="1200"/>
            <a:t>Admin</a:t>
          </a:r>
        </a:p>
      </dsp:txBody>
      <dsp:txXfrm>
        <a:off x="4203027" y="14808"/>
        <a:ext cx="928708" cy="450343"/>
      </dsp:txXfrm>
    </dsp:sp>
    <dsp:sp modelId="{3DD8C698-6324-4DE9-AE48-5F5657ECFB89}">
      <dsp:nvSpPr>
        <dsp:cNvPr id="0" name=""/>
        <dsp:cNvSpPr/>
      </dsp:nvSpPr>
      <dsp:spPr>
        <a:xfrm rot="2142401">
          <a:off x="3762027" y="645977"/>
          <a:ext cx="471286" cy="13183"/>
        </a:xfrm>
        <a:custGeom>
          <a:avLst/>
          <a:gdLst/>
          <a:ahLst/>
          <a:cxnLst/>
          <a:rect l="0" t="0" r="0" b="0"/>
          <a:pathLst>
            <a:path>
              <a:moveTo>
                <a:pt x="0" y="6591"/>
              </a:moveTo>
              <a:lnTo>
                <a:pt x="471286" y="6591"/>
              </a:lnTo>
            </a:path>
          </a:pathLst>
        </a:cu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AR" sz="500" kern="1200"/>
        </a:p>
      </dsp:txBody>
      <dsp:txXfrm>
        <a:off x="3985888" y="640787"/>
        <a:ext cx="23564" cy="23564"/>
      </dsp:txXfrm>
    </dsp:sp>
    <dsp:sp modelId="{248DBC5F-FFCA-44FC-9277-1DDC0DC48B90}">
      <dsp:nvSpPr>
        <dsp:cNvPr id="0" name=""/>
        <dsp:cNvSpPr/>
      </dsp:nvSpPr>
      <dsp:spPr>
        <a:xfrm>
          <a:off x="4189016" y="550917"/>
          <a:ext cx="956730" cy="47836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AR" sz="1500" kern="1200"/>
            <a:t>Read</a:t>
          </a:r>
        </a:p>
      </dsp:txBody>
      <dsp:txXfrm>
        <a:off x="4203027" y="564928"/>
        <a:ext cx="928708" cy="450343"/>
      </dsp:txXfrm>
    </dsp:sp>
    <dsp:sp modelId="{A824E9E1-3975-48DD-8BB1-16379DF79407}">
      <dsp:nvSpPr>
        <dsp:cNvPr id="0" name=""/>
        <dsp:cNvSpPr/>
      </dsp:nvSpPr>
      <dsp:spPr>
        <a:xfrm rot="3907178">
          <a:off x="2203447" y="1746217"/>
          <a:ext cx="909601" cy="13183"/>
        </a:xfrm>
        <a:custGeom>
          <a:avLst/>
          <a:gdLst/>
          <a:ahLst/>
          <a:cxnLst/>
          <a:rect l="0" t="0" r="0" b="0"/>
          <a:pathLst>
            <a:path>
              <a:moveTo>
                <a:pt x="0" y="6591"/>
              </a:moveTo>
              <a:lnTo>
                <a:pt x="909601" y="6591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AR" sz="500" kern="1200"/>
        </a:p>
      </dsp:txBody>
      <dsp:txXfrm>
        <a:off x="2635508" y="1730069"/>
        <a:ext cx="45480" cy="45480"/>
      </dsp:txXfrm>
    </dsp:sp>
    <dsp:sp modelId="{FB982F87-6F35-43D6-841E-51788810657E}">
      <dsp:nvSpPr>
        <dsp:cNvPr id="0" name=""/>
        <dsp:cNvSpPr/>
      </dsp:nvSpPr>
      <dsp:spPr>
        <a:xfrm>
          <a:off x="2849594" y="1926216"/>
          <a:ext cx="956730" cy="47836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6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AR" sz="1500" kern="1200"/>
            <a:t>App2</a:t>
          </a:r>
        </a:p>
      </dsp:txBody>
      <dsp:txXfrm>
        <a:off x="2863605" y="1940227"/>
        <a:ext cx="928708" cy="450343"/>
      </dsp:txXfrm>
    </dsp:sp>
    <dsp:sp modelId="{9E52A342-C8AC-4C1A-A133-9559F825132C}">
      <dsp:nvSpPr>
        <dsp:cNvPr id="0" name=""/>
        <dsp:cNvSpPr/>
      </dsp:nvSpPr>
      <dsp:spPr>
        <a:xfrm rot="17692822">
          <a:off x="3542869" y="1746217"/>
          <a:ext cx="909601" cy="13183"/>
        </a:xfrm>
        <a:custGeom>
          <a:avLst/>
          <a:gdLst/>
          <a:ahLst/>
          <a:cxnLst/>
          <a:rect l="0" t="0" r="0" b="0"/>
          <a:pathLst>
            <a:path>
              <a:moveTo>
                <a:pt x="0" y="6591"/>
              </a:moveTo>
              <a:lnTo>
                <a:pt x="909601" y="6591"/>
              </a:lnTo>
            </a:path>
          </a:pathLst>
        </a:cu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AR" sz="500" kern="1200"/>
        </a:p>
      </dsp:txBody>
      <dsp:txXfrm>
        <a:off x="3974930" y="1730069"/>
        <a:ext cx="45480" cy="45480"/>
      </dsp:txXfrm>
    </dsp:sp>
    <dsp:sp modelId="{F0AF7C63-306A-4B9E-9EA9-840710DC07E9}">
      <dsp:nvSpPr>
        <dsp:cNvPr id="0" name=""/>
        <dsp:cNvSpPr/>
      </dsp:nvSpPr>
      <dsp:spPr>
        <a:xfrm>
          <a:off x="4189016" y="1101036"/>
          <a:ext cx="956730" cy="47836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AR" sz="1500" kern="1200"/>
            <a:t>Admin</a:t>
          </a:r>
        </a:p>
      </dsp:txBody>
      <dsp:txXfrm>
        <a:off x="4203027" y="1115047"/>
        <a:ext cx="928708" cy="450343"/>
      </dsp:txXfrm>
    </dsp:sp>
    <dsp:sp modelId="{1D098C42-FEE2-41DB-9A19-AAC29FF3BCDF}">
      <dsp:nvSpPr>
        <dsp:cNvPr id="0" name=""/>
        <dsp:cNvSpPr/>
      </dsp:nvSpPr>
      <dsp:spPr>
        <a:xfrm rot="19457599">
          <a:off x="3762027" y="2021277"/>
          <a:ext cx="471286" cy="13183"/>
        </a:xfrm>
        <a:custGeom>
          <a:avLst/>
          <a:gdLst/>
          <a:ahLst/>
          <a:cxnLst/>
          <a:rect l="0" t="0" r="0" b="0"/>
          <a:pathLst>
            <a:path>
              <a:moveTo>
                <a:pt x="0" y="6591"/>
              </a:moveTo>
              <a:lnTo>
                <a:pt x="471286" y="6591"/>
              </a:lnTo>
            </a:path>
          </a:pathLst>
        </a:cu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AR" sz="500" kern="1200"/>
        </a:p>
      </dsp:txBody>
      <dsp:txXfrm>
        <a:off x="3985888" y="2016087"/>
        <a:ext cx="23564" cy="23564"/>
      </dsp:txXfrm>
    </dsp:sp>
    <dsp:sp modelId="{70B7E869-8545-4EDA-AD24-31C6A6652BAF}">
      <dsp:nvSpPr>
        <dsp:cNvPr id="0" name=""/>
        <dsp:cNvSpPr/>
      </dsp:nvSpPr>
      <dsp:spPr>
        <a:xfrm>
          <a:off x="4189016" y="1651156"/>
          <a:ext cx="956730" cy="47836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AR" sz="1500" kern="1200"/>
            <a:t>Read</a:t>
          </a:r>
        </a:p>
      </dsp:txBody>
      <dsp:txXfrm>
        <a:off x="4203027" y="1665167"/>
        <a:ext cx="928708" cy="450343"/>
      </dsp:txXfrm>
    </dsp:sp>
    <dsp:sp modelId="{51051FA0-EBE6-42E4-819E-6C0ADF23D25C}">
      <dsp:nvSpPr>
        <dsp:cNvPr id="0" name=""/>
        <dsp:cNvSpPr/>
      </dsp:nvSpPr>
      <dsp:spPr>
        <a:xfrm rot="2142401">
          <a:off x="3762027" y="2296337"/>
          <a:ext cx="471286" cy="13183"/>
        </a:xfrm>
        <a:custGeom>
          <a:avLst/>
          <a:gdLst/>
          <a:ahLst/>
          <a:cxnLst/>
          <a:rect l="0" t="0" r="0" b="0"/>
          <a:pathLst>
            <a:path>
              <a:moveTo>
                <a:pt x="0" y="6591"/>
              </a:moveTo>
              <a:lnTo>
                <a:pt x="471286" y="6591"/>
              </a:lnTo>
            </a:path>
          </a:pathLst>
        </a:cu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AR" sz="500" kern="1200"/>
        </a:p>
      </dsp:txBody>
      <dsp:txXfrm>
        <a:off x="3985888" y="2291147"/>
        <a:ext cx="23564" cy="23564"/>
      </dsp:txXfrm>
    </dsp:sp>
    <dsp:sp modelId="{1AA402FD-DE7A-4063-A27A-4C47CE3CE05F}">
      <dsp:nvSpPr>
        <dsp:cNvPr id="0" name=""/>
        <dsp:cNvSpPr/>
      </dsp:nvSpPr>
      <dsp:spPr>
        <a:xfrm>
          <a:off x="4189016" y="2201276"/>
          <a:ext cx="956730" cy="47836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AR" sz="1500" kern="1200"/>
            <a:t>Modetator</a:t>
          </a:r>
        </a:p>
      </dsp:txBody>
      <dsp:txXfrm>
        <a:off x="4203027" y="2215287"/>
        <a:ext cx="928708" cy="450343"/>
      </dsp:txXfrm>
    </dsp:sp>
    <dsp:sp modelId="{59F1D322-558D-450A-A929-52E4E01CE295}">
      <dsp:nvSpPr>
        <dsp:cNvPr id="0" name=""/>
        <dsp:cNvSpPr/>
      </dsp:nvSpPr>
      <dsp:spPr>
        <a:xfrm rot="3907178">
          <a:off x="3542869" y="2571397"/>
          <a:ext cx="909601" cy="13183"/>
        </a:xfrm>
        <a:custGeom>
          <a:avLst/>
          <a:gdLst/>
          <a:ahLst/>
          <a:cxnLst/>
          <a:rect l="0" t="0" r="0" b="0"/>
          <a:pathLst>
            <a:path>
              <a:moveTo>
                <a:pt x="0" y="6591"/>
              </a:moveTo>
              <a:lnTo>
                <a:pt x="909601" y="6591"/>
              </a:lnTo>
            </a:path>
          </a:pathLst>
        </a:cu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AR" sz="500" kern="1200"/>
        </a:p>
      </dsp:txBody>
      <dsp:txXfrm>
        <a:off x="3974930" y="2555249"/>
        <a:ext cx="45480" cy="45480"/>
      </dsp:txXfrm>
    </dsp:sp>
    <dsp:sp modelId="{364D744A-4F76-4F99-8A19-C5B282EC2BF1}">
      <dsp:nvSpPr>
        <dsp:cNvPr id="0" name=""/>
        <dsp:cNvSpPr/>
      </dsp:nvSpPr>
      <dsp:spPr>
        <a:xfrm>
          <a:off x="4189016" y="2751396"/>
          <a:ext cx="956730" cy="47836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AR" sz="1500" kern="1200"/>
            <a:t>Cordinator</a:t>
          </a:r>
        </a:p>
      </dsp:txBody>
      <dsp:txXfrm>
        <a:off x="4203027" y="2765407"/>
        <a:ext cx="928708" cy="450343"/>
      </dsp:txXfrm>
    </dsp:sp>
    <dsp:sp modelId="{7BED4291-AE65-4D64-84B1-4B65212D7EAE}">
      <dsp:nvSpPr>
        <dsp:cNvPr id="0" name=""/>
        <dsp:cNvSpPr/>
      </dsp:nvSpPr>
      <dsp:spPr>
        <a:xfrm rot="4616685">
          <a:off x="471751" y="3809167"/>
          <a:ext cx="1694148" cy="13183"/>
        </a:xfrm>
        <a:custGeom>
          <a:avLst/>
          <a:gdLst/>
          <a:ahLst/>
          <a:cxnLst/>
          <a:rect l="0" t="0" r="0" b="0"/>
          <a:pathLst>
            <a:path>
              <a:moveTo>
                <a:pt x="0" y="6591"/>
              </a:moveTo>
              <a:lnTo>
                <a:pt x="1694148" y="6591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AR" sz="600" kern="1200"/>
        </a:p>
      </dsp:txBody>
      <dsp:txXfrm>
        <a:off x="1276472" y="3773405"/>
        <a:ext cx="84707" cy="84707"/>
      </dsp:txXfrm>
    </dsp:sp>
    <dsp:sp modelId="{7D70A0D2-0F7E-4C34-BF69-5AA97D384028}">
      <dsp:nvSpPr>
        <dsp:cNvPr id="0" name=""/>
        <dsp:cNvSpPr/>
      </dsp:nvSpPr>
      <dsp:spPr>
        <a:xfrm>
          <a:off x="1510172" y="4401756"/>
          <a:ext cx="956730" cy="47836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AR" sz="1500" kern="1200"/>
            <a:t>Title</a:t>
          </a:r>
        </a:p>
      </dsp:txBody>
      <dsp:txXfrm>
        <a:off x="1524183" y="4415767"/>
        <a:ext cx="928708" cy="450343"/>
      </dsp:txXfrm>
    </dsp:sp>
    <dsp:sp modelId="{91F0A133-7364-4E28-A937-3840A4A8566D}">
      <dsp:nvSpPr>
        <dsp:cNvPr id="0" name=""/>
        <dsp:cNvSpPr/>
      </dsp:nvSpPr>
      <dsp:spPr>
        <a:xfrm rot="17381365">
          <a:off x="2079478" y="4084226"/>
          <a:ext cx="1168562" cy="13183"/>
        </a:xfrm>
        <a:custGeom>
          <a:avLst/>
          <a:gdLst/>
          <a:ahLst/>
          <a:cxnLst/>
          <a:rect l="0" t="0" r="0" b="0"/>
          <a:pathLst>
            <a:path>
              <a:moveTo>
                <a:pt x="0" y="6591"/>
              </a:moveTo>
              <a:lnTo>
                <a:pt x="1168562" y="6591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AR" sz="500" kern="1200"/>
        </a:p>
      </dsp:txBody>
      <dsp:txXfrm>
        <a:off x="2634545" y="4061604"/>
        <a:ext cx="58428" cy="58428"/>
      </dsp:txXfrm>
    </dsp:sp>
    <dsp:sp modelId="{923F666F-6797-4617-A4B3-E95BC3AFDBDE}">
      <dsp:nvSpPr>
        <dsp:cNvPr id="0" name=""/>
        <dsp:cNvSpPr/>
      </dsp:nvSpPr>
      <dsp:spPr>
        <a:xfrm>
          <a:off x="2860616" y="3301516"/>
          <a:ext cx="956730" cy="47836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6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AR" sz="1500" kern="1200"/>
            <a:t>CEO</a:t>
          </a:r>
        </a:p>
      </dsp:txBody>
      <dsp:txXfrm>
        <a:off x="2874627" y="3315527"/>
        <a:ext cx="928708" cy="450343"/>
      </dsp:txXfrm>
    </dsp:sp>
    <dsp:sp modelId="{0AE009CA-ED58-4D1F-B466-ED20F7522FF6}">
      <dsp:nvSpPr>
        <dsp:cNvPr id="0" name=""/>
        <dsp:cNvSpPr/>
      </dsp:nvSpPr>
      <dsp:spPr>
        <a:xfrm>
          <a:off x="3817346" y="3534107"/>
          <a:ext cx="371670" cy="13183"/>
        </a:xfrm>
        <a:custGeom>
          <a:avLst/>
          <a:gdLst/>
          <a:ahLst/>
          <a:cxnLst/>
          <a:rect l="0" t="0" r="0" b="0"/>
          <a:pathLst>
            <a:path>
              <a:moveTo>
                <a:pt x="0" y="6591"/>
              </a:moveTo>
              <a:lnTo>
                <a:pt x="371670" y="6591"/>
              </a:lnTo>
            </a:path>
          </a:pathLst>
        </a:cu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AR" sz="500" kern="1200"/>
        </a:p>
      </dsp:txBody>
      <dsp:txXfrm>
        <a:off x="3993889" y="3531407"/>
        <a:ext cx="18583" cy="18583"/>
      </dsp:txXfrm>
    </dsp:sp>
    <dsp:sp modelId="{56656885-16C1-4C6C-97AE-9F35EBC720B1}">
      <dsp:nvSpPr>
        <dsp:cNvPr id="0" name=""/>
        <dsp:cNvSpPr/>
      </dsp:nvSpPr>
      <dsp:spPr>
        <a:xfrm>
          <a:off x="4189016" y="3301516"/>
          <a:ext cx="956730" cy="47836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AR" sz="1500" kern="1200"/>
            <a:t>Core</a:t>
          </a:r>
        </a:p>
      </dsp:txBody>
      <dsp:txXfrm>
        <a:off x="4203027" y="3315527"/>
        <a:ext cx="928708" cy="450343"/>
      </dsp:txXfrm>
    </dsp:sp>
    <dsp:sp modelId="{152D7CF2-BEBF-4B68-8BA1-CA891AE8EE82}">
      <dsp:nvSpPr>
        <dsp:cNvPr id="0" name=""/>
        <dsp:cNvSpPr/>
      </dsp:nvSpPr>
      <dsp:spPr>
        <a:xfrm rot="19457599">
          <a:off x="2422605" y="4496816"/>
          <a:ext cx="471286" cy="13183"/>
        </a:xfrm>
        <a:custGeom>
          <a:avLst/>
          <a:gdLst/>
          <a:ahLst/>
          <a:cxnLst/>
          <a:rect l="0" t="0" r="0" b="0"/>
          <a:pathLst>
            <a:path>
              <a:moveTo>
                <a:pt x="0" y="6591"/>
              </a:moveTo>
              <a:lnTo>
                <a:pt x="471286" y="6591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AR" sz="500" kern="1200"/>
        </a:p>
      </dsp:txBody>
      <dsp:txXfrm>
        <a:off x="2646466" y="4491626"/>
        <a:ext cx="23564" cy="23564"/>
      </dsp:txXfrm>
    </dsp:sp>
    <dsp:sp modelId="{1CF30EF4-9E2D-4192-9553-C5AADE99BB21}">
      <dsp:nvSpPr>
        <dsp:cNvPr id="0" name=""/>
        <dsp:cNvSpPr/>
      </dsp:nvSpPr>
      <dsp:spPr>
        <a:xfrm>
          <a:off x="2849594" y="4126696"/>
          <a:ext cx="956730" cy="47836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6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AR" sz="1500" kern="1200"/>
            <a:t>Lider</a:t>
          </a:r>
        </a:p>
      </dsp:txBody>
      <dsp:txXfrm>
        <a:off x="2863605" y="4140707"/>
        <a:ext cx="928708" cy="450343"/>
      </dsp:txXfrm>
    </dsp:sp>
    <dsp:sp modelId="{1DD425BA-C91B-48D8-9EC0-8664E9C609B8}">
      <dsp:nvSpPr>
        <dsp:cNvPr id="0" name=""/>
        <dsp:cNvSpPr/>
      </dsp:nvSpPr>
      <dsp:spPr>
        <a:xfrm rot="19457599">
          <a:off x="3762027" y="4221756"/>
          <a:ext cx="471286" cy="13183"/>
        </a:xfrm>
        <a:custGeom>
          <a:avLst/>
          <a:gdLst/>
          <a:ahLst/>
          <a:cxnLst/>
          <a:rect l="0" t="0" r="0" b="0"/>
          <a:pathLst>
            <a:path>
              <a:moveTo>
                <a:pt x="0" y="6591"/>
              </a:moveTo>
              <a:lnTo>
                <a:pt x="471286" y="6591"/>
              </a:lnTo>
            </a:path>
          </a:pathLst>
        </a:cu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AR" sz="500" kern="1200"/>
        </a:p>
      </dsp:txBody>
      <dsp:txXfrm>
        <a:off x="3985888" y="4216566"/>
        <a:ext cx="23564" cy="23564"/>
      </dsp:txXfrm>
    </dsp:sp>
    <dsp:sp modelId="{0F3FC4EF-26B3-4DAB-BE0C-123DF19A2986}">
      <dsp:nvSpPr>
        <dsp:cNvPr id="0" name=""/>
        <dsp:cNvSpPr/>
      </dsp:nvSpPr>
      <dsp:spPr>
        <a:xfrm>
          <a:off x="4189016" y="3851636"/>
          <a:ext cx="956730" cy="47836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AR" sz="1500" kern="1200"/>
            <a:t>BR</a:t>
          </a:r>
        </a:p>
      </dsp:txBody>
      <dsp:txXfrm>
        <a:off x="4203027" y="3865647"/>
        <a:ext cx="928708" cy="450343"/>
      </dsp:txXfrm>
    </dsp:sp>
    <dsp:sp modelId="{71325118-D63C-4962-AC0A-F9F9F74B9EEE}">
      <dsp:nvSpPr>
        <dsp:cNvPr id="0" name=""/>
        <dsp:cNvSpPr/>
      </dsp:nvSpPr>
      <dsp:spPr>
        <a:xfrm rot="2142401">
          <a:off x="3762027" y="4496816"/>
          <a:ext cx="471286" cy="13183"/>
        </a:xfrm>
        <a:custGeom>
          <a:avLst/>
          <a:gdLst/>
          <a:ahLst/>
          <a:cxnLst/>
          <a:rect l="0" t="0" r="0" b="0"/>
          <a:pathLst>
            <a:path>
              <a:moveTo>
                <a:pt x="0" y="6591"/>
              </a:moveTo>
              <a:lnTo>
                <a:pt x="471286" y="6591"/>
              </a:lnTo>
            </a:path>
          </a:pathLst>
        </a:cu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AR" sz="500" kern="1200"/>
        </a:p>
      </dsp:txBody>
      <dsp:txXfrm>
        <a:off x="3985888" y="4491626"/>
        <a:ext cx="23564" cy="23564"/>
      </dsp:txXfrm>
    </dsp:sp>
    <dsp:sp modelId="{F589644E-E2BB-48A6-98C1-6514391D62A9}">
      <dsp:nvSpPr>
        <dsp:cNvPr id="0" name=""/>
        <dsp:cNvSpPr/>
      </dsp:nvSpPr>
      <dsp:spPr>
        <a:xfrm>
          <a:off x="4189016" y="4401756"/>
          <a:ext cx="956730" cy="47836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AR" sz="1500" kern="1200"/>
            <a:t>IN</a:t>
          </a:r>
        </a:p>
      </dsp:txBody>
      <dsp:txXfrm>
        <a:off x="4203027" y="4415767"/>
        <a:ext cx="928708" cy="450343"/>
      </dsp:txXfrm>
    </dsp:sp>
    <dsp:sp modelId="{CC42129A-42F5-4CA1-9826-8354525BFAC4}">
      <dsp:nvSpPr>
        <dsp:cNvPr id="0" name=""/>
        <dsp:cNvSpPr/>
      </dsp:nvSpPr>
      <dsp:spPr>
        <a:xfrm rot="4249260">
          <a:off x="2075800" y="5184466"/>
          <a:ext cx="1164895" cy="13183"/>
        </a:xfrm>
        <a:custGeom>
          <a:avLst/>
          <a:gdLst/>
          <a:ahLst/>
          <a:cxnLst/>
          <a:rect l="0" t="0" r="0" b="0"/>
          <a:pathLst>
            <a:path>
              <a:moveTo>
                <a:pt x="0" y="6591"/>
              </a:moveTo>
              <a:lnTo>
                <a:pt x="1164895" y="6591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AR" sz="500" kern="1200"/>
        </a:p>
      </dsp:txBody>
      <dsp:txXfrm>
        <a:off x="2629126" y="5161936"/>
        <a:ext cx="58244" cy="58244"/>
      </dsp:txXfrm>
    </dsp:sp>
    <dsp:sp modelId="{CCD897E1-2F98-405B-A7A8-39DC790F444D}">
      <dsp:nvSpPr>
        <dsp:cNvPr id="0" name=""/>
        <dsp:cNvSpPr/>
      </dsp:nvSpPr>
      <dsp:spPr>
        <a:xfrm>
          <a:off x="2849594" y="5501995"/>
          <a:ext cx="956730" cy="47836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6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AR" sz="1500" kern="1200"/>
            <a:t>Analist</a:t>
          </a:r>
        </a:p>
      </dsp:txBody>
      <dsp:txXfrm>
        <a:off x="2863605" y="5516006"/>
        <a:ext cx="928708" cy="450343"/>
      </dsp:txXfrm>
    </dsp:sp>
    <dsp:sp modelId="{92959400-FA58-49DE-9B60-383E0C0B4891}">
      <dsp:nvSpPr>
        <dsp:cNvPr id="0" name=""/>
        <dsp:cNvSpPr/>
      </dsp:nvSpPr>
      <dsp:spPr>
        <a:xfrm rot="18289469">
          <a:off x="3662601" y="5459526"/>
          <a:ext cx="670138" cy="13183"/>
        </a:xfrm>
        <a:custGeom>
          <a:avLst/>
          <a:gdLst/>
          <a:ahLst/>
          <a:cxnLst/>
          <a:rect l="0" t="0" r="0" b="0"/>
          <a:pathLst>
            <a:path>
              <a:moveTo>
                <a:pt x="0" y="6591"/>
              </a:moveTo>
              <a:lnTo>
                <a:pt x="670138" y="6591"/>
              </a:lnTo>
            </a:path>
          </a:pathLst>
        </a:cu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AR" sz="500" kern="1200"/>
        </a:p>
      </dsp:txBody>
      <dsp:txXfrm>
        <a:off x="3980917" y="5449364"/>
        <a:ext cx="33506" cy="33506"/>
      </dsp:txXfrm>
    </dsp:sp>
    <dsp:sp modelId="{30D88C84-24C4-4240-A0FD-D4204D1F4795}">
      <dsp:nvSpPr>
        <dsp:cNvPr id="0" name=""/>
        <dsp:cNvSpPr/>
      </dsp:nvSpPr>
      <dsp:spPr>
        <a:xfrm>
          <a:off x="4189016" y="4951875"/>
          <a:ext cx="956730" cy="47836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AR" sz="1500" kern="1200"/>
            <a:t>AR</a:t>
          </a:r>
        </a:p>
      </dsp:txBody>
      <dsp:txXfrm>
        <a:off x="4203027" y="4965886"/>
        <a:ext cx="928708" cy="450343"/>
      </dsp:txXfrm>
    </dsp:sp>
    <dsp:sp modelId="{6A2E57C2-1CE8-4AE0-94DB-88B7AC381AEC}">
      <dsp:nvSpPr>
        <dsp:cNvPr id="0" name=""/>
        <dsp:cNvSpPr/>
      </dsp:nvSpPr>
      <dsp:spPr>
        <a:xfrm>
          <a:off x="3806324" y="5734586"/>
          <a:ext cx="382692" cy="13183"/>
        </a:xfrm>
        <a:custGeom>
          <a:avLst/>
          <a:gdLst/>
          <a:ahLst/>
          <a:cxnLst/>
          <a:rect l="0" t="0" r="0" b="0"/>
          <a:pathLst>
            <a:path>
              <a:moveTo>
                <a:pt x="0" y="6591"/>
              </a:moveTo>
              <a:lnTo>
                <a:pt x="382692" y="6591"/>
              </a:lnTo>
            </a:path>
          </a:pathLst>
        </a:cu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AR" sz="500" kern="1200"/>
        </a:p>
      </dsp:txBody>
      <dsp:txXfrm>
        <a:off x="3988103" y="5731611"/>
        <a:ext cx="19134" cy="19134"/>
      </dsp:txXfrm>
    </dsp:sp>
    <dsp:sp modelId="{6DF9D2E0-C316-43E8-A78F-CE33559BD554}">
      <dsp:nvSpPr>
        <dsp:cNvPr id="0" name=""/>
        <dsp:cNvSpPr/>
      </dsp:nvSpPr>
      <dsp:spPr>
        <a:xfrm>
          <a:off x="4189016" y="5501995"/>
          <a:ext cx="956730" cy="47836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AR" sz="1500" kern="1200"/>
            <a:t>BR</a:t>
          </a:r>
        </a:p>
      </dsp:txBody>
      <dsp:txXfrm>
        <a:off x="4203027" y="5516006"/>
        <a:ext cx="928708" cy="450343"/>
      </dsp:txXfrm>
    </dsp:sp>
    <dsp:sp modelId="{43A351FE-D1C8-4A42-8F36-60E5DFB5D4DB}">
      <dsp:nvSpPr>
        <dsp:cNvPr id="0" name=""/>
        <dsp:cNvSpPr/>
      </dsp:nvSpPr>
      <dsp:spPr>
        <a:xfrm rot="3258449">
          <a:off x="3668749" y="6002810"/>
          <a:ext cx="660520" cy="13183"/>
        </a:xfrm>
        <a:custGeom>
          <a:avLst/>
          <a:gdLst/>
          <a:ahLst/>
          <a:cxnLst/>
          <a:rect l="0" t="0" r="0" b="0"/>
          <a:pathLst>
            <a:path>
              <a:moveTo>
                <a:pt x="0" y="6591"/>
              </a:moveTo>
              <a:lnTo>
                <a:pt x="660520" y="6591"/>
              </a:lnTo>
            </a:path>
          </a:pathLst>
        </a:cu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AR" sz="500" kern="1200"/>
        </a:p>
      </dsp:txBody>
      <dsp:txXfrm>
        <a:off x="3982497" y="5992889"/>
        <a:ext cx="33026" cy="33026"/>
      </dsp:txXfrm>
    </dsp:sp>
    <dsp:sp modelId="{FABF1E00-8788-4C82-9CB2-F8AE1E24D9F3}">
      <dsp:nvSpPr>
        <dsp:cNvPr id="0" name=""/>
        <dsp:cNvSpPr/>
      </dsp:nvSpPr>
      <dsp:spPr>
        <a:xfrm>
          <a:off x="4191695" y="6038443"/>
          <a:ext cx="956730" cy="47836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AR" sz="1500" kern="1200"/>
            <a:t>IN</a:t>
          </a:r>
        </a:p>
      </dsp:txBody>
      <dsp:txXfrm>
        <a:off x="4205706" y="6052454"/>
        <a:ext cx="928708" cy="45034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BC3924C-5921-47AA-9C9C-930060103A55}">
      <dsp:nvSpPr>
        <dsp:cNvPr id="0" name=""/>
        <dsp:cNvSpPr/>
      </dsp:nvSpPr>
      <dsp:spPr>
        <a:xfrm>
          <a:off x="106" y="0"/>
          <a:ext cx="1421390" cy="554799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AR" sz="1200" kern="1200" dirty="0"/>
            <a:t>TITLE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AR" sz="1200" kern="1200" dirty="0" smtClean="0"/>
            <a:t>Títulos </a:t>
          </a:r>
          <a:r>
            <a:rPr lang="es-AR" sz="1200" kern="1200" dirty="0"/>
            <a:t>funcionales en la organización</a:t>
          </a:r>
        </a:p>
      </dsp:txBody>
      <dsp:txXfrm>
        <a:off x="106" y="2219198"/>
        <a:ext cx="1421390" cy="2219198"/>
      </dsp:txXfrm>
    </dsp:sp>
    <dsp:sp modelId="{E02C56C4-4A0B-41D4-B986-24E9B2BB0284}">
      <dsp:nvSpPr>
        <dsp:cNvPr id="0" name=""/>
        <dsp:cNvSpPr/>
      </dsp:nvSpPr>
      <dsp:spPr>
        <a:xfrm>
          <a:off x="42748" y="332879"/>
          <a:ext cx="1336107" cy="1847482"/>
        </a:xfrm>
        <a:prstGeom prst="ellipse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3000" r="-23000"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  <dsp:sp modelId="{CABF533B-581A-4CDF-AB8E-232B23C93234}">
      <dsp:nvSpPr>
        <dsp:cNvPr id="0" name=""/>
        <dsp:cNvSpPr/>
      </dsp:nvSpPr>
      <dsp:spPr>
        <a:xfrm>
          <a:off x="1464139" y="0"/>
          <a:ext cx="1421390" cy="554799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AR" sz="1200" kern="1200" dirty="0"/>
            <a:t>MARKET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AR" sz="1200" kern="1200" dirty="0"/>
            <a:t>Mercado en el que se desempeña considerando Mobile / </a:t>
          </a:r>
          <a:r>
            <a:rPr lang="es-AR" sz="1200" kern="1200" dirty="0" err="1"/>
            <a:t>Core</a:t>
          </a:r>
          <a:r>
            <a:rPr lang="es-AR" sz="1200" kern="1200" dirty="0"/>
            <a:t> / </a:t>
          </a:r>
          <a:r>
            <a:rPr lang="es-AR" sz="1200" kern="1200" dirty="0" err="1"/>
            <a:t>Etc</a:t>
          </a:r>
          <a:r>
            <a:rPr lang="es-AR" sz="1200" kern="1200" dirty="0"/>
            <a:t> como tales</a:t>
          </a:r>
          <a:br>
            <a:rPr lang="es-AR" sz="1200" kern="1200" dirty="0"/>
          </a:br>
          <a:r>
            <a:rPr lang="es-AR" sz="1200" kern="1200" dirty="0"/>
            <a:t>(reevaluar el nombre del </a:t>
          </a:r>
          <a:r>
            <a:rPr lang="es-AR" sz="1200" kern="1200" dirty="0" smtClean="0"/>
            <a:t>grupo Team?)</a:t>
          </a:r>
          <a:endParaRPr lang="es-AR" sz="1200" kern="1200" dirty="0"/>
        </a:p>
      </dsp:txBody>
      <dsp:txXfrm>
        <a:off x="1464139" y="2219198"/>
        <a:ext cx="1421390" cy="2219198"/>
      </dsp:txXfrm>
    </dsp:sp>
    <dsp:sp modelId="{52D8198D-70C3-4B20-A3A4-A6CB490709D1}">
      <dsp:nvSpPr>
        <dsp:cNvPr id="0" name=""/>
        <dsp:cNvSpPr/>
      </dsp:nvSpPr>
      <dsp:spPr>
        <a:xfrm>
          <a:off x="1506780" y="332879"/>
          <a:ext cx="1336107" cy="1847482"/>
        </a:xfrm>
        <a:prstGeom prst="ellipse">
          <a:avLst/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  <dsp:sp modelId="{FF941132-1E33-4FC3-B742-FEBE3887EDF5}">
      <dsp:nvSpPr>
        <dsp:cNvPr id="0" name=""/>
        <dsp:cNvSpPr/>
      </dsp:nvSpPr>
      <dsp:spPr>
        <a:xfrm>
          <a:off x="2928171" y="0"/>
          <a:ext cx="1421390" cy="554799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AR" sz="1200" kern="1200" dirty="0"/>
            <a:t>APPLICATION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AR" sz="1200" kern="1200" dirty="0" smtClean="0"/>
            <a:t>Aplicaciones </a:t>
          </a:r>
          <a:r>
            <a:rPr lang="es-AR" sz="1200" kern="1200" dirty="0"/>
            <a:t>internas e Externas sobre las que se majea la seguridad de acceso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AR" sz="1200" kern="1200" dirty="0"/>
        </a:p>
      </dsp:txBody>
      <dsp:txXfrm>
        <a:off x="2928171" y="2219198"/>
        <a:ext cx="1421390" cy="2219198"/>
      </dsp:txXfrm>
    </dsp:sp>
    <dsp:sp modelId="{DDCA8A03-0BA7-4B5D-AA27-0105B8A8EC05}">
      <dsp:nvSpPr>
        <dsp:cNvPr id="0" name=""/>
        <dsp:cNvSpPr/>
      </dsp:nvSpPr>
      <dsp:spPr>
        <a:xfrm>
          <a:off x="2970813" y="332879"/>
          <a:ext cx="1336107" cy="1847482"/>
        </a:xfrm>
        <a:prstGeom prst="ellipse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  <dsp:sp modelId="{A04DF248-2004-41F3-AD08-DE75CE31967F}">
      <dsp:nvSpPr>
        <dsp:cNvPr id="0" name=""/>
        <dsp:cNvSpPr/>
      </dsp:nvSpPr>
      <dsp:spPr>
        <a:xfrm>
          <a:off x="4392203" y="0"/>
          <a:ext cx="1421390" cy="554799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AR" sz="1200" kern="1200" dirty="0" smtClean="0"/>
            <a:t>App-Perfil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AR" sz="1200" kern="1200" dirty="0" smtClean="0"/>
            <a:t>Lista de roles definidos en las herramienta</a:t>
          </a:r>
          <a:br>
            <a:rPr lang="es-AR" sz="1200" kern="1200" dirty="0" smtClean="0"/>
          </a:br>
          <a:r>
            <a:rPr lang="es-AR" sz="1200" i="1" kern="1200" dirty="0" err="1" smtClean="0"/>
            <a:t>Defininir</a:t>
          </a:r>
          <a:r>
            <a:rPr lang="es-AR" sz="1200" i="1" kern="1200" dirty="0" smtClean="0"/>
            <a:t> dentro de lo posible nomenclatura de relación con la app. (Definir grupos por app ??)</a:t>
          </a:r>
          <a:endParaRPr lang="es-AR" sz="1200" i="1" kern="1200" dirty="0"/>
        </a:p>
      </dsp:txBody>
      <dsp:txXfrm>
        <a:off x="4392203" y="2219198"/>
        <a:ext cx="1421390" cy="2219198"/>
      </dsp:txXfrm>
    </dsp:sp>
    <dsp:sp modelId="{BE6D8FC3-AB86-4884-B0A5-577E6CCFB6FB}">
      <dsp:nvSpPr>
        <dsp:cNvPr id="0" name=""/>
        <dsp:cNvSpPr/>
      </dsp:nvSpPr>
      <dsp:spPr>
        <a:xfrm>
          <a:off x="4434845" y="332879"/>
          <a:ext cx="1336107" cy="1847482"/>
        </a:xfrm>
        <a:prstGeom prst="ellipse">
          <a:avLst/>
        </a:prstGeom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  <dsp:sp modelId="{5D683962-CA49-4A65-872B-EE5A35F42408}">
      <dsp:nvSpPr>
        <dsp:cNvPr id="0" name=""/>
        <dsp:cNvSpPr/>
      </dsp:nvSpPr>
      <dsp:spPr>
        <a:xfrm>
          <a:off x="5856236" y="0"/>
          <a:ext cx="1421390" cy="554799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AR" sz="1200" kern="1200" dirty="0"/>
            <a:t>Office LOCATION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AR" sz="1200" kern="1200" dirty="0"/>
            <a:t>Asignación de </a:t>
          </a:r>
          <a:r>
            <a:rPr lang="es-AR" sz="1200" kern="1200" dirty="0" smtClean="0"/>
            <a:t>oficina </a:t>
          </a:r>
          <a:r>
            <a:rPr lang="es-AR" sz="1200" kern="1200" dirty="0"/>
            <a:t>principal</a:t>
          </a:r>
        </a:p>
      </dsp:txBody>
      <dsp:txXfrm>
        <a:off x="5856236" y="2219198"/>
        <a:ext cx="1421390" cy="2219198"/>
      </dsp:txXfrm>
    </dsp:sp>
    <dsp:sp modelId="{459BBBE2-0CBD-4B8A-9B13-F8A29B65DDC5}">
      <dsp:nvSpPr>
        <dsp:cNvPr id="0" name=""/>
        <dsp:cNvSpPr/>
      </dsp:nvSpPr>
      <dsp:spPr>
        <a:xfrm>
          <a:off x="5898877" y="332879"/>
          <a:ext cx="1336107" cy="1847482"/>
        </a:xfrm>
        <a:prstGeom prst="ellipse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2000" r="-12000"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  <dsp:sp modelId="{4EA26A78-CE89-47F2-8460-24659D3DB26F}">
      <dsp:nvSpPr>
        <dsp:cNvPr id="0" name=""/>
        <dsp:cNvSpPr/>
      </dsp:nvSpPr>
      <dsp:spPr>
        <a:xfrm>
          <a:off x="7320375" y="0"/>
          <a:ext cx="1421390" cy="554799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AR" sz="1200" kern="1200" dirty="0"/>
            <a:t>Mail-</a:t>
          </a:r>
          <a:r>
            <a:rPr lang="es-AR" sz="1200" kern="1200" dirty="0" err="1"/>
            <a:t>Chain</a:t>
          </a:r>
          <a:endParaRPr lang="es-AR" sz="1200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AR" sz="1200" kern="1200" dirty="0"/>
            <a:t>Grupo de distribución de </a:t>
          </a:r>
          <a:r>
            <a:rPr lang="es-AR" sz="1200" kern="1200" dirty="0" err="1" smtClean="0"/>
            <a:t>Mail´s</a:t>
          </a:r>
          <a:r>
            <a:rPr lang="es-AR" sz="1200" kern="1200" dirty="0" smtClean="0"/>
            <a:t/>
          </a:r>
          <a:br>
            <a:rPr lang="es-AR" sz="1200" kern="1200" dirty="0" smtClean="0"/>
          </a:br>
          <a:r>
            <a:rPr lang="es-AR" sz="1200" i="1" kern="1200" dirty="0" smtClean="0"/>
            <a:t>Puede tener relación con el usuario o con el título + MK</a:t>
          </a:r>
          <a:endParaRPr lang="es-AR" sz="1200" i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AR" sz="1200" kern="1200" dirty="0" smtClean="0"/>
            <a:t>O pueden ser 2 estructuras de cadenas independientes</a:t>
          </a:r>
          <a:endParaRPr lang="es-AR" sz="1200" kern="1200" dirty="0"/>
        </a:p>
      </dsp:txBody>
      <dsp:txXfrm>
        <a:off x="7320375" y="2219198"/>
        <a:ext cx="1421390" cy="2219198"/>
      </dsp:txXfrm>
    </dsp:sp>
    <dsp:sp modelId="{99CF732F-AFA6-4723-A5A7-082591576AFF}">
      <dsp:nvSpPr>
        <dsp:cNvPr id="0" name=""/>
        <dsp:cNvSpPr/>
      </dsp:nvSpPr>
      <dsp:spPr>
        <a:xfrm>
          <a:off x="7362910" y="332879"/>
          <a:ext cx="1336107" cy="1847482"/>
        </a:xfrm>
        <a:prstGeom prst="ellipse">
          <a:avLst/>
        </a:prstGeom>
        <a:blipFill>
          <a:blip xmlns:r="http://schemas.openxmlformats.org/officeDocument/2006/relationships"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8000" r="-28000"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  <dsp:sp modelId="{C7128B23-CF84-475A-B192-E74D3E0F497D}">
      <dsp:nvSpPr>
        <dsp:cNvPr id="0" name=""/>
        <dsp:cNvSpPr/>
      </dsp:nvSpPr>
      <dsp:spPr>
        <a:xfrm>
          <a:off x="349670" y="4438395"/>
          <a:ext cx="8042424" cy="832199"/>
        </a:xfrm>
        <a:prstGeom prst="leftRightArrow">
          <a:avLst/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List7">
  <dgm:title val=""/>
  <dgm:desc val=""/>
  <dgm:catLst>
    <dgm:cat type="list" pri="12000"/>
    <dgm:cat type="process" pri="20000"/>
    <dgm:cat type="relationship" pri="14000"/>
    <dgm:cat type="convert" pri="8000"/>
    <dgm:cat type="picture" pri="25000"/>
    <dgm:cat type="pictureconvert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913" cy="5016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00488" y="0"/>
            <a:ext cx="2982912" cy="5016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E32106-50FF-4199-B38B-7EFE1CF7981E}" type="datetimeFigureOut">
              <a:rPr lang="en-GB" smtClean="0"/>
              <a:pPr/>
              <a:t>25/04/201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515475"/>
            <a:ext cx="2982913" cy="5016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0488" y="9515475"/>
            <a:ext cx="2982912" cy="5016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D8D539-4636-4DCC-A688-C59D254F4E7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29393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3495" cy="500936"/>
          </a:xfrm>
          <a:prstGeom prst="rect">
            <a:avLst/>
          </a:prstGeom>
        </p:spPr>
        <p:txBody>
          <a:bodyPr vert="horz" lIns="96588" tIns="48294" rIns="96588" bIns="48294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99900" y="0"/>
            <a:ext cx="2983495" cy="500936"/>
          </a:xfrm>
          <a:prstGeom prst="rect">
            <a:avLst/>
          </a:prstGeom>
        </p:spPr>
        <p:txBody>
          <a:bodyPr vert="horz" lIns="96588" tIns="48294" rIns="96588" bIns="48294" rtlCol="0"/>
          <a:lstStyle>
            <a:lvl1pPr algn="r">
              <a:defRPr sz="1300"/>
            </a:lvl1pPr>
          </a:lstStyle>
          <a:p>
            <a:fld id="{38F342D2-1C34-4E65-89B1-16F9CD02FC5F}" type="datetimeFigureOut">
              <a:rPr lang="en-US" smtClean="0"/>
              <a:pPr/>
              <a:t>4/25/2014</a:t>
            </a:fld>
            <a:endParaRPr lang="en-US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936625" y="750888"/>
            <a:ext cx="5011738" cy="37576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588" tIns="48294" rIns="96588" bIns="48294" rtlCol="0" anchor="ctr"/>
          <a:lstStyle/>
          <a:p>
            <a:endParaRPr lang="en-US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8499" y="4758889"/>
            <a:ext cx="5507990" cy="4508421"/>
          </a:xfrm>
          <a:prstGeom prst="rect">
            <a:avLst/>
          </a:prstGeom>
        </p:spPr>
        <p:txBody>
          <a:bodyPr vert="horz" lIns="96588" tIns="48294" rIns="96588" bIns="48294" rtlCol="0"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en-US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9516038"/>
            <a:ext cx="2983495" cy="500936"/>
          </a:xfrm>
          <a:prstGeom prst="rect">
            <a:avLst/>
          </a:prstGeom>
        </p:spPr>
        <p:txBody>
          <a:bodyPr vert="horz" lIns="96588" tIns="48294" rIns="96588" bIns="48294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99900" y="9516038"/>
            <a:ext cx="2983495" cy="500936"/>
          </a:xfrm>
          <a:prstGeom prst="rect">
            <a:avLst/>
          </a:prstGeom>
        </p:spPr>
        <p:txBody>
          <a:bodyPr vert="horz" lIns="96588" tIns="48294" rIns="96588" bIns="48294" rtlCol="0" anchor="b"/>
          <a:lstStyle>
            <a:lvl1pPr algn="r">
              <a:defRPr sz="1300"/>
            </a:lvl1pPr>
          </a:lstStyle>
          <a:p>
            <a:fld id="{2FC9A164-A1A9-48FE-9075-43D3F353A68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81343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1741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endParaRPr lang="es-AR" dirty="0">
              <a:latin typeface="Calibri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741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54577" indent="-290222" eaLnBrk="0" hangingPunct="0">
              <a:defRPr sz="2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60887" indent="-232177" eaLnBrk="0" hangingPunct="0">
              <a:defRPr sz="2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25242" indent="-232177" eaLnBrk="0" hangingPunct="0">
              <a:defRPr sz="2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89597" indent="-232177" eaLnBrk="0" hangingPunct="0">
              <a:defRPr sz="2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53953" indent="-232177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3018307" indent="-232177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82662" indent="-232177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947018" indent="-232177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fld id="{79FC616B-3A36-8C40-B1C7-2D03DB7F7E2B}" type="slidenum">
              <a:rPr lang="es-ES" sz="1200">
                <a:latin typeface="Calibri" charset="0"/>
              </a:rPr>
              <a:pPr eaLnBrk="1" hangingPunct="1"/>
              <a:t>2</a:t>
            </a:fld>
            <a:endParaRPr lang="es-ES" sz="1200" dirty="0"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50956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gi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gi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Olx-Template_v2.gif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9160966" cy="6858000"/>
          </a:xfrm>
          <a:prstGeom prst="rect">
            <a:avLst/>
          </a:prstGeom>
        </p:spPr>
      </p:pic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122345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84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Picture 2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circulo_olx_logo-generico_cmyk.gif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0574" y="2353932"/>
            <a:ext cx="2072105" cy="1910089"/>
          </a:xfrm>
          <a:prstGeom prst="rect">
            <a:avLst/>
          </a:prstGeom>
        </p:spPr>
      </p:pic>
      <p:sp>
        <p:nvSpPr>
          <p:cNvPr id="16" name="Title 1"/>
          <p:cNvSpPr txBox="1">
            <a:spLocks/>
          </p:cNvSpPr>
          <p:nvPr userDrawn="1"/>
        </p:nvSpPr>
        <p:spPr>
          <a:xfrm>
            <a:off x="3272687" y="2934247"/>
            <a:ext cx="5178388" cy="430887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0" i="0" dirty="0" smtClean="0">
                <a:solidFill>
                  <a:schemeClr val="bg1"/>
                </a:solidFill>
                <a:latin typeface="Helvetica Light"/>
                <a:cs typeface="Helvetica Light"/>
              </a:rPr>
              <a:t>Free Classifieds</a:t>
            </a:r>
            <a:endParaRPr lang="en-US" sz="2800" b="0" i="0" dirty="0">
              <a:solidFill>
                <a:srgbClr val="FFFFFF"/>
              </a:solidFill>
              <a:latin typeface="Helvetica Light"/>
              <a:cs typeface="Helvetica Light"/>
            </a:endParaRPr>
          </a:p>
        </p:txBody>
      </p:sp>
      <p:sp>
        <p:nvSpPr>
          <p:cNvPr id="18" name="Title 1"/>
          <p:cNvSpPr txBox="1">
            <a:spLocks/>
          </p:cNvSpPr>
          <p:nvPr userDrawn="1"/>
        </p:nvSpPr>
        <p:spPr>
          <a:xfrm>
            <a:off x="3272687" y="3309910"/>
            <a:ext cx="5178388" cy="307777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b="1" i="0" dirty="0" err="1" smtClean="0">
                <a:solidFill>
                  <a:schemeClr val="bg1"/>
                </a:solidFill>
                <a:latin typeface="Helvetica"/>
                <a:cs typeface="Helvetica"/>
              </a:rPr>
              <a:t>www.olx.com</a:t>
            </a:r>
            <a:endParaRPr lang="en-US" sz="2000" b="1" i="0" dirty="0">
              <a:solidFill>
                <a:srgbClr val="FFFFFF"/>
              </a:solidFill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1673643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no Title w/ Conclusi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7844093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7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6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833089" y="1693862"/>
            <a:ext cx="2051538" cy="4516609"/>
          </a:xfrm>
          <a:solidFill>
            <a:schemeClr val="tx2"/>
          </a:solidFill>
        </p:spPr>
        <p:txBody>
          <a:bodyPr vert="horz" lIns="91440" tIns="91440" rIns="91440" bIns="91440" rtlCol="0">
            <a:noAutofit/>
          </a:bodyPr>
          <a:lstStyle>
            <a:lvl1pPr>
              <a:defRPr lang="en-GB" noProof="0" dirty="0" smtClean="0"/>
            </a:lvl1pPr>
            <a:lvl2pPr>
              <a:defRPr lang="en-GB" noProof="0" dirty="0" smtClean="0"/>
            </a:lvl2pPr>
            <a:lvl3pPr>
              <a:defRPr lang="en-GB" noProof="0" dirty="0" smtClean="0"/>
            </a:lvl3pPr>
            <a:lvl4pPr>
              <a:defRPr lang="en-GB" noProof="0" dirty="0"/>
            </a:lvl4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3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33089" y="1130400"/>
            <a:ext cx="2047059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text</a:t>
            </a:r>
            <a:endParaRPr lang="en-GB" noProof="0" dirty="0"/>
          </a:p>
        </p:txBody>
      </p:sp>
      <p:sp>
        <p:nvSpPr>
          <p:cNvPr id="12" name="Chart Placeholder 4"/>
          <p:cNvSpPr>
            <a:spLocks noGrp="1"/>
          </p:cNvSpPr>
          <p:nvPr>
            <p:ph type="chart" sz="quarter" idx="14"/>
          </p:nvPr>
        </p:nvSpPr>
        <p:spPr>
          <a:xfrm>
            <a:off x="363538" y="1130399"/>
            <a:ext cx="6279052" cy="5083075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59015" y="6577640"/>
            <a:ext cx="6575173" cy="138499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9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dirty="0" smtClean="0">
                <a:solidFill>
                  <a:schemeClr val="accent2">
                    <a:lumMod val="10000"/>
                  </a:schemeClr>
                </a:solidFill>
              </a:rPr>
              <a:t>Note/Source:</a:t>
            </a:r>
          </a:p>
        </p:txBody>
      </p:sp>
    </p:spTree>
    <p:extLst>
      <p:ext uri="{BB962C8B-B14F-4D97-AF65-F5344CB8AC3E}">
        <p14:creationId xmlns:p14="http://schemas.microsoft.com/office/powerpoint/2010/main" val="9227436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graph / 2 conclusion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9783167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9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833089" y="1695450"/>
            <a:ext cx="2051538" cy="1944000"/>
          </a:xfrm>
          <a:solidFill>
            <a:schemeClr val="tx2"/>
          </a:solidFill>
        </p:spPr>
        <p:txBody>
          <a:bodyPr vert="horz" lIns="91440" tIns="91440" rIns="91440" bIns="9144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6pPr>
              <a:defRPr lang="en-GB" dirty="0"/>
            </a:lvl6pPr>
          </a:lstStyle>
          <a:p>
            <a:pPr lvl="0"/>
            <a:r>
              <a:rPr lang="en-GB" noProof="0" dirty="0" smtClean="0"/>
              <a:t>Click to edit Master text 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3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33089" y="1130400"/>
            <a:ext cx="2047059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text</a:t>
            </a:r>
            <a:endParaRPr lang="en-GB" noProof="0" dirty="0"/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50581" y="1130400"/>
            <a:ext cx="6520962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19"/>
          </p:nvPr>
        </p:nvSpPr>
        <p:spPr>
          <a:xfrm>
            <a:off x="6833089" y="4263502"/>
            <a:ext cx="2051538" cy="1944000"/>
          </a:xfrm>
          <a:solidFill>
            <a:schemeClr val="tx2"/>
          </a:solidFill>
        </p:spPr>
        <p:txBody>
          <a:bodyPr vert="horz" lIns="91440" tIns="91440" rIns="91440" bIns="9144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6pPr>
              <a:defRPr lang="en-GB" dirty="0"/>
            </a:lvl6pPr>
          </a:lstStyle>
          <a:p>
            <a:pPr lvl="0"/>
            <a:r>
              <a:rPr lang="en-GB" noProof="0" dirty="0" smtClean="0"/>
              <a:t>Click to edit Master text 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3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833089" y="3703115"/>
            <a:ext cx="2047059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text</a:t>
            </a:r>
            <a:endParaRPr lang="en-GB" noProof="0" dirty="0"/>
          </a:p>
        </p:txBody>
      </p:sp>
      <p:sp>
        <p:nvSpPr>
          <p:cNvPr id="25" name="Chart Placeholder 4"/>
          <p:cNvSpPr>
            <a:spLocks noGrp="1"/>
          </p:cNvSpPr>
          <p:nvPr>
            <p:ph type="chart" sz="quarter" idx="14"/>
          </p:nvPr>
        </p:nvSpPr>
        <p:spPr>
          <a:xfrm>
            <a:off x="259015" y="1644649"/>
            <a:ext cx="6512527" cy="4562853"/>
          </a:xfrm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259015" y="6577640"/>
            <a:ext cx="6575173" cy="138499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9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dirty="0" smtClean="0">
                <a:solidFill>
                  <a:schemeClr val="accent2">
                    <a:lumMod val="10000"/>
                  </a:schemeClr>
                </a:solidFill>
              </a:rPr>
              <a:t>Note/Source:</a:t>
            </a:r>
          </a:p>
        </p:txBody>
      </p:sp>
    </p:spTree>
    <p:extLst>
      <p:ext uri="{BB962C8B-B14F-4D97-AF65-F5344CB8AC3E}">
        <p14:creationId xmlns:p14="http://schemas.microsoft.com/office/powerpoint/2010/main" val="19843826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Graphs horizontal w/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7012352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6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833089" y="1692633"/>
            <a:ext cx="2051538" cy="4504215"/>
          </a:xfrm>
          <a:solidFill>
            <a:schemeClr val="tx2"/>
          </a:solidFill>
        </p:spPr>
        <p:txBody>
          <a:bodyPr vert="horz" lIns="91440" tIns="91440" rIns="91440" bIns="91440" rtlCol="0">
            <a:noAutofit/>
          </a:bodyPr>
          <a:lstStyle>
            <a:lvl1pPr>
              <a:defRPr lang="en-GB" noProof="0" dirty="0" smtClean="0"/>
            </a:lvl1pPr>
            <a:lvl2pPr>
              <a:defRPr lang="en-GB" noProof="0" dirty="0" smtClean="0"/>
            </a:lvl2pPr>
            <a:lvl3pPr>
              <a:defRPr lang="en-GB" noProof="0" dirty="0" smtClean="0"/>
            </a:lvl3pPr>
            <a:lvl4pPr>
              <a:defRPr lang="en-GB" noProof="0" dirty="0"/>
            </a:lvl4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3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33089" y="1130400"/>
            <a:ext cx="2047059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smtClean="0"/>
              <a:t>Click to edit text</a:t>
            </a:r>
            <a:endParaRPr lang="en-GB" noProof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3526083" y="1130400"/>
            <a:ext cx="3241431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smtClean="0"/>
              <a:t>Click to edit Master text styles</a:t>
            </a:r>
            <a:endParaRPr lang="en-GB" noProof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50580" y="1130400"/>
            <a:ext cx="3241431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16" name="Chart Placeholder 4"/>
          <p:cNvSpPr>
            <a:spLocks noGrp="1"/>
          </p:cNvSpPr>
          <p:nvPr>
            <p:ph type="chart" sz="quarter" idx="14"/>
          </p:nvPr>
        </p:nvSpPr>
        <p:spPr>
          <a:xfrm>
            <a:off x="258763" y="1692633"/>
            <a:ext cx="3233247" cy="4511727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8" name="Chart Placeholder 4"/>
          <p:cNvSpPr>
            <a:spLocks noGrp="1"/>
          </p:cNvSpPr>
          <p:nvPr>
            <p:ph type="chart" sz="quarter" idx="15"/>
          </p:nvPr>
        </p:nvSpPr>
        <p:spPr>
          <a:xfrm>
            <a:off x="3551483" y="1692633"/>
            <a:ext cx="3168000" cy="4500000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7" hasCustomPrompt="1"/>
          </p:nvPr>
        </p:nvSpPr>
        <p:spPr>
          <a:xfrm>
            <a:off x="259015" y="6577640"/>
            <a:ext cx="6575173" cy="138499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9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dirty="0" smtClean="0">
                <a:solidFill>
                  <a:schemeClr val="accent2">
                    <a:lumMod val="10000"/>
                  </a:schemeClr>
                </a:solidFill>
              </a:rPr>
              <a:t>Note/Source:</a:t>
            </a:r>
          </a:p>
        </p:txBody>
      </p:sp>
    </p:spTree>
    <p:extLst>
      <p:ext uri="{BB962C8B-B14F-4D97-AF65-F5344CB8AC3E}">
        <p14:creationId xmlns:p14="http://schemas.microsoft.com/office/powerpoint/2010/main" val="18475054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2233772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7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9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250581" y="3621071"/>
            <a:ext cx="4248000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text</a:t>
            </a:r>
            <a:endParaRPr lang="en-GB" noProof="0" dirty="0"/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50581" y="1130400"/>
            <a:ext cx="4248000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text</a:t>
            </a:r>
            <a:endParaRPr lang="en-GB" noProof="0" dirty="0"/>
          </a:p>
        </p:txBody>
      </p:sp>
      <p:sp>
        <p:nvSpPr>
          <p:cNvPr id="32" name="Text Placeholder 5"/>
          <p:cNvSpPr>
            <a:spLocks noGrp="1"/>
          </p:cNvSpPr>
          <p:nvPr>
            <p:ph type="body" sz="quarter" idx="17" hasCustomPrompt="1"/>
          </p:nvPr>
        </p:nvSpPr>
        <p:spPr>
          <a:xfrm>
            <a:off x="4626000" y="3621071"/>
            <a:ext cx="4248000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text</a:t>
            </a:r>
            <a:endParaRPr lang="en-GB" noProof="0" dirty="0"/>
          </a:p>
        </p:txBody>
      </p:sp>
      <p:sp>
        <p:nvSpPr>
          <p:cNvPr id="33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4626000" y="1130400"/>
            <a:ext cx="4248000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text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59015" y="6577640"/>
            <a:ext cx="6575173" cy="138499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9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dirty="0" smtClean="0">
                <a:solidFill>
                  <a:schemeClr val="accent2">
                    <a:lumMod val="10000"/>
                  </a:schemeClr>
                </a:solidFill>
              </a:rPr>
              <a:t>Note/Source:</a:t>
            </a:r>
          </a:p>
        </p:txBody>
      </p:sp>
    </p:spTree>
    <p:extLst>
      <p:ext uri="{BB962C8B-B14F-4D97-AF65-F5344CB8AC3E}">
        <p14:creationId xmlns:p14="http://schemas.microsoft.com/office/powerpoint/2010/main" val="27242707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3804363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1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jdelijke aanduiding voor titel 1"/>
          <p:cNvSpPr>
            <a:spLocks noGrp="1"/>
          </p:cNvSpPr>
          <p:nvPr>
            <p:ph type="title"/>
          </p:nvPr>
        </p:nvSpPr>
        <p:spPr>
          <a:xfrm>
            <a:off x="259015" y="213111"/>
            <a:ext cx="8629146" cy="369332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59015" y="6577640"/>
            <a:ext cx="6575173" cy="138499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9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dirty="0" smtClean="0">
                <a:solidFill>
                  <a:schemeClr val="accent2">
                    <a:lumMod val="10000"/>
                  </a:schemeClr>
                </a:solidFill>
              </a:rPr>
              <a:t>Note/Source:</a:t>
            </a:r>
          </a:p>
        </p:txBody>
      </p:sp>
    </p:spTree>
    <p:extLst>
      <p:ext uri="{BB962C8B-B14F-4D97-AF65-F5344CB8AC3E}">
        <p14:creationId xmlns:p14="http://schemas.microsoft.com/office/powerpoint/2010/main" val="12988908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88253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4985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58763" y="1130400"/>
            <a:ext cx="8626475" cy="1179810"/>
          </a:xfrm>
          <a:ln>
            <a:noFill/>
          </a:ln>
        </p:spPr>
        <p:txBody>
          <a:bodyPr/>
          <a:lstStyle>
            <a:lvl1pPr>
              <a:defRPr>
                <a:solidFill>
                  <a:schemeClr val="accent2">
                    <a:lumMod val="10000"/>
                  </a:schemeClr>
                </a:solidFill>
              </a:defRPr>
            </a:lvl1pPr>
            <a:lvl2pPr>
              <a:defRPr>
                <a:solidFill>
                  <a:schemeClr val="accent2">
                    <a:lumMod val="10000"/>
                  </a:schemeClr>
                </a:solidFill>
              </a:defRPr>
            </a:lvl2pPr>
            <a:lvl3pPr>
              <a:defRPr>
                <a:solidFill>
                  <a:schemeClr val="accent2">
                    <a:lumMod val="10000"/>
                  </a:schemeClr>
                </a:solidFill>
              </a:defRPr>
            </a:lvl3pPr>
            <a:lvl4pPr>
              <a:defRPr>
                <a:solidFill>
                  <a:schemeClr val="accent2">
                    <a:lumMod val="10000"/>
                  </a:schemeClr>
                </a:solidFill>
              </a:defRPr>
            </a:lvl4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3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59015" y="6577640"/>
            <a:ext cx="6575173" cy="138499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9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dirty="0" smtClean="0">
                <a:solidFill>
                  <a:schemeClr val="accent2">
                    <a:lumMod val="10000"/>
                  </a:schemeClr>
                </a:solidFill>
              </a:rPr>
              <a:t>Note/Source: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2205518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/ 2 lin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7431665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9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624402" y="1695450"/>
            <a:ext cx="4255747" cy="4502150"/>
          </a:xfrm>
          <a:solidFill>
            <a:schemeClr val="tx2"/>
          </a:solidFill>
        </p:spPr>
        <p:txBody>
          <a:bodyPr vert="horz" lIns="91440" tIns="91440" rIns="91440" bIns="91440" rtlCol="0">
            <a:noAutofit/>
          </a:bodyPr>
          <a:lstStyle>
            <a:lvl1pPr>
              <a:defRPr lang="en-US" dirty="0" smtClean="0">
                <a:solidFill>
                  <a:schemeClr val="accent2">
                    <a:lumMod val="10000"/>
                  </a:schemeClr>
                </a:solidFill>
              </a:defRPr>
            </a:lvl1pPr>
            <a:lvl2pPr>
              <a:defRPr lang="en-US" dirty="0" smtClean="0">
                <a:solidFill>
                  <a:schemeClr val="accent2">
                    <a:lumMod val="10000"/>
                  </a:schemeClr>
                </a:solidFill>
              </a:defRPr>
            </a:lvl2pPr>
            <a:lvl3pPr>
              <a:defRPr lang="en-US" dirty="0" smtClean="0">
                <a:solidFill>
                  <a:schemeClr val="accent2">
                    <a:lumMod val="10000"/>
                  </a:schemeClr>
                </a:solidFill>
              </a:defRPr>
            </a:lvl3pPr>
            <a:lvl4pPr>
              <a:defRPr lang="en-US" dirty="0" smtClean="0">
                <a:solidFill>
                  <a:schemeClr val="accent2">
                    <a:lumMod val="10000"/>
                  </a:schemeClr>
                </a:solidFill>
              </a:defRPr>
            </a:lvl4pPr>
            <a:lvl6pPr>
              <a:defRPr lang="en-GB" dirty="0"/>
            </a:lvl6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3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624402" y="1131888"/>
            <a:ext cx="4255747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lnSpc>
                <a:spcPct val="95000"/>
              </a:lnSpc>
              <a:defRPr lang="en-GB" b="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50582" y="1695450"/>
            <a:ext cx="4255747" cy="4502150"/>
          </a:xfrm>
          <a:solidFill>
            <a:schemeClr val="tx2"/>
          </a:solidFill>
        </p:spPr>
        <p:txBody>
          <a:bodyPr vert="horz" lIns="91440" tIns="91440" rIns="91440" bIns="91440" rtlCol="0">
            <a:noAutofit/>
          </a:bodyPr>
          <a:lstStyle>
            <a:lvl1pPr>
              <a:defRPr lang="en-US" dirty="0" smtClean="0">
                <a:solidFill>
                  <a:schemeClr val="accent2">
                    <a:lumMod val="10000"/>
                  </a:schemeClr>
                </a:solidFill>
              </a:defRPr>
            </a:lvl1pPr>
            <a:lvl2pPr>
              <a:defRPr lang="en-US" dirty="0" smtClean="0">
                <a:solidFill>
                  <a:schemeClr val="accent2">
                    <a:lumMod val="10000"/>
                  </a:schemeClr>
                </a:solidFill>
              </a:defRPr>
            </a:lvl2pPr>
            <a:lvl3pPr>
              <a:defRPr lang="en-US" dirty="0" smtClean="0">
                <a:solidFill>
                  <a:schemeClr val="accent2">
                    <a:lumMod val="10000"/>
                  </a:schemeClr>
                </a:solidFill>
              </a:defRPr>
            </a:lvl3pPr>
            <a:lvl4pPr>
              <a:defRPr lang="en-US" dirty="0" smtClean="0">
                <a:solidFill>
                  <a:schemeClr val="accent2">
                    <a:lumMod val="10000"/>
                  </a:schemeClr>
                </a:solidFill>
              </a:defRPr>
            </a:lvl4pPr>
            <a:lvl6pPr>
              <a:defRPr lang="en-GB" dirty="0"/>
            </a:lvl6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3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50582" y="1131888"/>
            <a:ext cx="4255747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lnSpc>
                <a:spcPct val="95000"/>
              </a:lnSpc>
              <a:defRPr lang="en-GB" b="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dirty="0" smtClean="0"/>
              <a:t>Click to edit Master text styl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9015" y="213111"/>
            <a:ext cx="8629146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nl-NL" dirty="0"/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59015" y="6577640"/>
            <a:ext cx="6575173" cy="138499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9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dirty="0" smtClean="0">
                <a:solidFill>
                  <a:schemeClr val="accent2">
                    <a:lumMod val="10000"/>
                  </a:schemeClr>
                </a:solidFill>
              </a:rPr>
              <a:t>Note/Source:</a:t>
            </a:r>
          </a:p>
        </p:txBody>
      </p:sp>
    </p:spTree>
    <p:extLst>
      <p:ext uri="{BB962C8B-B14F-4D97-AF65-F5344CB8AC3E}">
        <p14:creationId xmlns:p14="http://schemas.microsoft.com/office/powerpoint/2010/main" val="31262311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/ 2 lin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9120047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7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089210" y="1697939"/>
            <a:ext cx="2790000" cy="4501515"/>
          </a:xfrm>
          <a:solidFill>
            <a:schemeClr val="tx2"/>
          </a:solidFill>
        </p:spPr>
        <p:txBody>
          <a:bodyPr vert="horz" lIns="91440" tIns="91440" rIns="91440" bIns="9144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6pPr>
              <a:defRPr lang="en-GB" dirty="0"/>
            </a:lvl6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3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6089210" y="1130400"/>
            <a:ext cx="2790000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3177087" y="1697939"/>
            <a:ext cx="2790000" cy="4501515"/>
          </a:xfrm>
          <a:solidFill>
            <a:schemeClr val="tx2"/>
          </a:solidFill>
        </p:spPr>
        <p:txBody>
          <a:bodyPr vert="horz" lIns="91440" tIns="91440" rIns="91440" bIns="9144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6pPr>
              <a:defRPr lang="en-GB" dirty="0"/>
            </a:lvl6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3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177087" y="1130400"/>
            <a:ext cx="2790000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52000" y="1697939"/>
            <a:ext cx="2790000" cy="4501515"/>
          </a:xfrm>
          <a:solidFill>
            <a:schemeClr val="tx2"/>
          </a:solidFill>
        </p:spPr>
        <p:txBody>
          <a:bodyPr vert="horz" lIns="91440" tIns="91440" rIns="91440" bIns="9144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6pPr>
              <a:defRPr lang="en-GB" dirty="0"/>
            </a:lvl6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3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52000" y="1130400"/>
            <a:ext cx="2790000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259015" y="6577640"/>
            <a:ext cx="6575173" cy="138499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9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dirty="0" smtClean="0">
                <a:solidFill>
                  <a:schemeClr val="accent2">
                    <a:lumMod val="10000"/>
                  </a:schemeClr>
                </a:solidFill>
              </a:rPr>
              <a:t>Note/Source:</a:t>
            </a:r>
          </a:p>
        </p:txBody>
      </p:sp>
    </p:spTree>
    <p:extLst>
      <p:ext uri="{BB962C8B-B14F-4D97-AF65-F5344CB8AC3E}">
        <p14:creationId xmlns:p14="http://schemas.microsoft.com/office/powerpoint/2010/main" val="28492405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/ 2 lin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7591260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9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9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6798532" y="1699735"/>
            <a:ext cx="2088000" cy="4502150"/>
          </a:xfrm>
          <a:solidFill>
            <a:schemeClr val="tx2"/>
          </a:solidFill>
        </p:spPr>
        <p:txBody>
          <a:bodyPr vert="horz" lIns="91440" tIns="91440" rIns="91440" bIns="9144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6pPr>
              <a:defRPr lang="en-GB" dirty="0"/>
            </a:lvl6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3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6798532" y="1130400"/>
            <a:ext cx="2088000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text</a:t>
            </a:r>
            <a:endParaRPr lang="en-GB" noProof="0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616448" y="1699735"/>
            <a:ext cx="2088000" cy="4502150"/>
          </a:xfrm>
          <a:solidFill>
            <a:schemeClr val="tx2"/>
          </a:solidFill>
        </p:spPr>
        <p:txBody>
          <a:bodyPr vert="horz" lIns="91440" tIns="91440" rIns="91440" bIns="9144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6pPr>
              <a:defRPr lang="en-GB" dirty="0"/>
            </a:lvl6pPr>
          </a:lstStyle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3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4616448" y="1130400"/>
            <a:ext cx="2088000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text</a:t>
            </a:r>
            <a:endParaRPr lang="en-GB" noProof="0" dirty="0"/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432665" y="1699735"/>
            <a:ext cx="2088000" cy="4502150"/>
          </a:xfrm>
          <a:solidFill>
            <a:schemeClr val="tx2"/>
          </a:solidFill>
        </p:spPr>
        <p:txBody>
          <a:bodyPr vert="horz" lIns="91440" tIns="91440" rIns="91440" bIns="9144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6pPr>
              <a:defRPr lang="en-GB" dirty="0"/>
            </a:lvl6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3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2432665" y="1130400"/>
            <a:ext cx="2088000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text</a:t>
            </a:r>
            <a:endParaRPr lang="en-GB" noProof="0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52000" y="1699735"/>
            <a:ext cx="2088000" cy="4502150"/>
          </a:xfrm>
          <a:solidFill>
            <a:schemeClr val="tx2"/>
          </a:solidFill>
        </p:spPr>
        <p:txBody>
          <a:bodyPr vert="horz" lIns="91440" tIns="91440" rIns="91440" bIns="9144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6pPr>
              <a:defRPr lang="en-GB" dirty="0"/>
            </a:lvl6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3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52000" y="1130400"/>
            <a:ext cx="2088000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text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259015" y="6577640"/>
            <a:ext cx="6575173" cy="138499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9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dirty="0" smtClean="0">
                <a:solidFill>
                  <a:schemeClr val="accent2">
                    <a:lumMod val="10000"/>
                  </a:schemeClr>
                </a:solidFill>
              </a:rPr>
              <a:t>Note/Source:</a:t>
            </a:r>
          </a:p>
        </p:txBody>
      </p:sp>
    </p:spTree>
    <p:extLst>
      <p:ext uri="{BB962C8B-B14F-4D97-AF65-F5344CB8AC3E}">
        <p14:creationId xmlns:p14="http://schemas.microsoft.com/office/powerpoint/2010/main" val="13255595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Graph w/ 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159194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9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50581" y="1130400"/>
            <a:ext cx="8629567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4"/>
          </p:nvPr>
        </p:nvSpPr>
        <p:spPr>
          <a:xfrm>
            <a:off x="250582" y="1697686"/>
            <a:ext cx="8629566" cy="4502341"/>
          </a:xfrm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59015" y="6577640"/>
            <a:ext cx="6575173" cy="138499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9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dirty="0" smtClean="0">
                <a:solidFill>
                  <a:schemeClr val="accent2">
                    <a:lumMod val="10000"/>
                  </a:schemeClr>
                </a:solidFill>
              </a:rPr>
              <a:t>Note/Source:</a:t>
            </a:r>
          </a:p>
        </p:txBody>
      </p:sp>
    </p:spTree>
    <p:extLst>
      <p:ext uri="{BB962C8B-B14F-4D97-AF65-F5344CB8AC3E}">
        <p14:creationId xmlns:p14="http://schemas.microsoft.com/office/powerpoint/2010/main" val="26055557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1252416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7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6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624402" y="1130400"/>
            <a:ext cx="4255747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50582" y="1130400"/>
            <a:ext cx="4255747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18" name="Chart Placeholder 4"/>
          <p:cNvSpPr>
            <a:spLocks noGrp="1"/>
          </p:cNvSpPr>
          <p:nvPr>
            <p:ph type="chart" sz="quarter" idx="14"/>
          </p:nvPr>
        </p:nvSpPr>
        <p:spPr>
          <a:xfrm>
            <a:off x="250582" y="1691718"/>
            <a:ext cx="4255747" cy="4508309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9" name="Chart Placeholder 4"/>
          <p:cNvSpPr>
            <a:spLocks noGrp="1"/>
          </p:cNvSpPr>
          <p:nvPr>
            <p:ph type="chart" sz="quarter" idx="15"/>
          </p:nvPr>
        </p:nvSpPr>
        <p:spPr>
          <a:xfrm>
            <a:off x="4624402" y="1688735"/>
            <a:ext cx="4255747" cy="4487876"/>
          </a:xfrm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259015" y="6577640"/>
            <a:ext cx="6575173" cy="138499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9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dirty="0" smtClean="0">
                <a:solidFill>
                  <a:schemeClr val="accent2">
                    <a:lumMod val="10000"/>
                  </a:schemeClr>
                </a:solidFill>
              </a:rPr>
              <a:t>Note/Source:</a:t>
            </a:r>
          </a:p>
        </p:txBody>
      </p:sp>
    </p:spTree>
    <p:extLst>
      <p:ext uri="{BB962C8B-B14F-4D97-AF65-F5344CB8AC3E}">
        <p14:creationId xmlns:p14="http://schemas.microsoft.com/office/powerpoint/2010/main" val="32560771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w/ Title &amp; Conclusi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9400391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0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833089" y="1699735"/>
            <a:ext cx="2051538" cy="4502150"/>
          </a:xfrm>
          <a:solidFill>
            <a:schemeClr val="tx2"/>
          </a:solidFill>
        </p:spPr>
        <p:txBody>
          <a:bodyPr vert="horz" lIns="91440" tIns="91440" rIns="91440" bIns="9144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6pPr>
              <a:defRPr lang="en-GB" dirty="0"/>
            </a:lvl6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3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33089" y="1130400"/>
            <a:ext cx="2047059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text</a:t>
            </a:r>
            <a:endParaRPr lang="en-GB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50581" y="1130400"/>
            <a:ext cx="6520962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4"/>
          </p:nvPr>
        </p:nvSpPr>
        <p:spPr>
          <a:xfrm>
            <a:off x="250581" y="1697305"/>
            <a:ext cx="6520961" cy="4502150"/>
          </a:xfrm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59015" y="6577640"/>
            <a:ext cx="6575173" cy="138499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9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dirty="0" smtClean="0">
                <a:solidFill>
                  <a:schemeClr val="accent2">
                    <a:lumMod val="10000"/>
                  </a:schemeClr>
                </a:solidFill>
              </a:rPr>
              <a:t>Note/Source:</a:t>
            </a:r>
          </a:p>
        </p:txBody>
      </p:sp>
    </p:spTree>
    <p:extLst>
      <p:ext uri="{BB962C8B-B14F-4D97-AF65-F5344CB8AC3E}">
        <p14:creationId xmlns:p14="http://schemas.microsoft.com/office/powerpoint/2010/main" val="2580763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/ Title &amp; Conclusi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8090235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1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833089" y="1695425"/>
            <a:ext cx="2051538" cy="4492624"/>
          </a:xfrm>
          <a:solidFill>
            <a:schemeClr val="tx2"/>
          </a:solidFill>
        </p:spPr>
        <p:txBody>
          <a:bodyPr vert="horz" lIns="91440" tIns="91440" rIns="91440" bIns="9144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6pPr>
              <a:defRPr lang="en-GB" dirty="0"/>
            </a:lvl6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3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33089" y="1130400"/>
            <a:ext cx="2047059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text</a:t>
            </a:r>
            <a:endParaRPr lang="en-GB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50581" y="1130400"/>
            <a:ext cx="6520962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59015" y="6577640"/>
            <a:ext cx="6575173" cy="138499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9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dirty="0" smtClean="0">
                <a:solidFill>
                  <a:schemeClr val="accent2">
                    <a:lumMod val="10000"/>
                  </a:schemeClr>
                </a:solidFill>
              </a:rPr>
              <a:t>Note/Source:</a:t>
            </a:r>
          </a:p>
        </p:txBody>
      </p:sp>
    </p:spTree>
    <p:extLst>
      <p:ext uri="{BB962C8B-B14F-4D97-AF65-F5344CB8AC3E}">
        <p14:creationId xmlns:p14="http://schemas.microsoft.com/office/powerpoint/2010/main" val="25840377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gi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34971524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58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Picture 260"/>
                      <p:cNvPicPr>
                        <a:picLocks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251083" y="1130400"/>
            <a:ext cx="8633544" cy="175432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</a:p>
          <a:p>
            <a:pPr lvl="5"/>
            <a:r>
              <a:rPr lang="en-GB" noProof="0" dirty="0" smtClean="0"/>
              <a:t>Sixth level</a:t>
            </a:r>
          </a:p>
          <a:p>
            <a:pPr lvl="6"/>
            <a:r>
              <a:rPr lang="en-GB" noProof="0" dirty="0" smtClean="0"/>
              <a:t>Seventh level</a:t>
            </a:r>
          </a:p>
          <a:p>
            <a:pPr lvl="7"/>
            <a:r>
              <a:rPr lang="en-GB" noProof="0" dirty="0" smtClean="0"/>
              <a:t>Eight level</a:t>
            </a:r>
          </a:p>
          <a:p>
            <a:pPr lvl="8"/>
            <a:r>
              <a:rPr lang="en-GB" noProof="0" dirty="0" smtClean="0"/>
              <a:t>Ninth level</a:t>
            </a:r>
            <a:endParaRPr lang="en-GB" noProof="0" dirty="0"/>
          </a:p>
        </p:txBody>
      </p:sp>
      <p:sp>
        <p:nvSpPr>
          <p:cNvPr id="11" name="TextBox 10"/>
          <p:cNvSpPr txBox="1"/>
          <p:nvPr/>
        </p:nvSpPr>
        <p:spPr>
          <a:xfrm>
            <a:off x="4434173" y="6581893"/>
            <a:ext cx="275654" cy="15388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fld id="{E2D37923-82FE-4F5B-AA5B-671AECFF7A49}" type="slidenum">
              <a:rPr lang="en-GB" sz="1000" b="0" i="0" noProof="0" smtClean="0">
                <a:ln>
                  <a:noFill/>
                </a:ln>
                <a:solidFill>
                  <a:schemeClr val="accent2">
                    <a:lumMod val="10000"/>
                  </a:schemeClr>
                </a:solidFill>
              </a:rPr>
              <a:pPr algn="ctr"/>
              <a:t>‹#›</a:t>
            </a:fld>
            <a:endParaRPr lang="en-GB" sz="1000" b="0" i="0" noProof="0" dirty="0" smtClean="0">
              <a:ln>
                <a:noFill/>
              </a:ln>
              <a:solidFill>
                <a:schemeClr val="accent2">
                  <a:lumMod val="10000"/>
                </a:schemeClr>
              </a:solidFill>
            </a:endParaRPr>
          </a:p>
        </p:txBody>
      </p:sp>
      <p:sp>
        <p:nvSpPr>
          <p:cNvPr id="10" name="Tijdelijke aanduiding voor titel 1"/>
          <p:cNvSpPr>
            <a:spLocks noGrp="1"/>
          </p:cNvSpPr>
          <p:nvPr>
            <p:ph type="title"/>
          </p:nvPr>
        </p:nvSpPr>
        <p:spPr>
          <a:xfrm>
            <a:off x="259015" y="213111"/>
            <a:ext cx="8629146" cy="369332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pic>
        <p:nvPicPr>
          <p:cNvPr id="2" name="Picture 1" descr="logo_OLX_circulo-negro.gif"/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9464" y="6303376"/>
            <a:ext cx="507999" cy="511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84930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7" r:id="rId2"/>
    <p:sldLayoutId id="2147483748" r:id="rId3"/>
    <p:sldLayoutId id="2147483723" r:id="rId4"/>
    <p:sldLayoutId id="2147483727" r:id="rId5"/>
    <p:sldLayoutId id="2147483747" r:id="rId6"/>
    <p:sldLayoutId id="2147483737" r:id="rId7"/>
    <p:sldLayoutId id="2147483733" r:id="rId8"/>
    <p:sldLayoutId id="2147483770" r:id="rId9"/>
    <p:sldLayoutId id="2147483736" r:id="rId10"/>
    <p:sldLayoutId id="2147483728" r:id="rId11"/>
    <p:sldLayoutId id="2147483739" r:id="rId12"/>
    <p:sldLayoutId id="2147483722" r:id="rId13"/>
    <p:sldLayoutId id="2147483769" r:id="rId14"/>
    <p:sldLayoutId id="2147483771" r:id="rId15"/>
    <p:sldLayoutId id="2147483772" r:id="rId16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buFont typeface="Wingdings" pitchFamily="2" charset="2"/>
        <a:buNone/>
        <a:defRPr sz="1400" kern="1200">
          <a:solidFill>
            <a:schemeClr val="accent2">
              <a:lumMod val="10000"/>
            </a:schemeClr>
          </a:solidFill>
          <a:latin typeface="+mn-lt"/>
          <a:ea typeface="+mn-ea"/>
          <a:cs typeface="+mn-cs"/>
        </a:defRPr>
      </a:lvl1pPr>
      <a:lvl2pPr marL="174625" indent="-174625" algn="l" defTabSz="914400" rtl="0" eaLnBrk="1" latinLnBrk="0" hangingPunct="1">
        <a:spcBef>
          <a:spcPts val="0"/>
        </a:spcBef>
        <a:buFont typeface="Arial" pitchFamily="34" charset="0"/>
        <a:buChar char="•"/>
        <a:defRPr sz="1200" kern="1200">
          <a:solidFill>
            <a:schemeClr val="accent2">
              <a:lumMod val="10000"/>
            </a:schemeClr>
          </a:solidFill>
          <a:latin typeface="+mn-lt"/>
          <a:ea typeface="+mn-ea"/>
          <a:cs typeface="+mn-cs"/>
        </a:defRPr>
      </a:lvl2pPr>
      <a:lvl3pPr marL="339725" indent="-158750" algn="l" defTabSz="914400" rtl="0" eaLnBrk="1" latinLnBrk="0" hangingPunct="1">
        <a:spcBef>
          <a:spcPts val="0"/>
        </a:spcBef>
        <a:buFont typeface="Arial" pitchFamily="34" charset="0"/>
        <a:buChar char="-"/>
        <a:defRPr sz="1200" kern="1200">
          <a:solidFill>
            <a:schemeClr val="accent2">
              <a:lumMod val="10000"/>
            </a:schemeClr>
          </a:solidFill>
          <a:latin typeface="+mn-lt"/>
          <a:ea typeface="+mn-ea"/>
          <a:cs typeface="+mn-cs"/>
        </a:defRPr>
      </a:lvl3pPr>
      <a:lvl4pPr marL="339725" indent="-158750" algn="l" defTabSz="1077913" rtl="0" eaLnBrk="1" latinLnBrk="0" hangingPunct="1">
        <a:spcBef>
          <a:spcPts val="0"/>
        </a:spcBef>
        <a:buFont typeface="Arial" pitchFamily="34" charset="0"/>
        <a:buChar char="-"/>
        <a:defRPr sz="1200" kern="1200" baseline="0">
          <a:solidFill>
            <a:schemeClr val="accent2">
              <a:lumMod val="10000"/>
            </a:schemeClr>
          </a:solidFill>
          <a:latin typeface="+mn-lt"/>
          <a:ea typeface="+mn-ea"/>
          <a:cs typeface="+mn-cs"/>
        </a:defRPr>
      </a:lvl4pPr>
      <a:lvl5pPr marL="339725" indent="-158750" algn="l" defTabSz="914400" rtl="0" eaLnBrk="1" latinLnBrk="0" hangingPunct="1">
        <a:spcBef>
          <a:spcPts val="0"/>
        </a:spcBef>
        <a:buFont typeface="Arial" pitchFamily="34" charset="0"/>
        <a:buChar char="-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339725" indent="-158750" algn="l" defTabSz="914400" rtl="0" eaLnBrk="1" latinLnBrk="0" hangingPunct="1">
        <a:spcBef>
          <a:spcPts val="0"/>
        </a:spcBef>
        <a:buFont typeface="Arial" pitchFamily="34" charset="0"/>
        <a:buChar char="-"/>
        <a:defRPr lang="en-GB" sz="12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339725" indent="-158750" algn="l" defTabSz="914400" rtl="0" eaLnBrk="1" latinLnBrk="0" hangingPunct="1">
        <a:spcBef>
          <a:spcPts val="0"/>
        </a:spcBef>
        <a:buFont typeface="Arial" pitchFamily="34" charset="0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39725" indent="-158750" algn="l" defTabSz="914400" rtl="0" eaLnBrk="1" latinLnBrk="0" hangingPunct="1">
        <a:spcBef>
          <a:spcPts val="0"/>
        </a:spcBef>
        <a:buFont typeface="Arial" pitchFamily="34" charset="0"/>
        <a:buChar char="-"/>
        <a:defRPr lang="en-GB" sz="12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8pPr>
      <a:lvl9pPr marL="339725" indent="-158750" algn="l" defTabSz="914400" rtl="0" eaLnBrk="1" latinLnBrk="0" hangingPunct="1">
        <a:spcBef>
          <a:spcPts val="0"/>
        </a:spcBef>
        <a:buFont typeface="Arial" pitchFamily="34" charset="0"/>
        <a:buChar char="-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1443003" y="4406086"/>
            <a:ext cx="5178388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>
                <a:solidFill>
                  <a:schemeClr val="bg1"/>
                </a:solidFill>
              </a:rPr>
              <a:t>Quality Assurance </a:t>
            </a:r>
            <a:r>
              <a:rPr lang="en-US" dirty="0" smtClean="0">
                <a:solidFill>
                  <a:schemeClr val="bg1"/>
                </a:solidFill>
              </a:rPr>
              <a:t>– LDAP Draft</a:t>
            </a:r>
            <a:endParaRPr lang="en-US" dirty="0">
              <a:solidFill>
                <a:srgbClr val="FFFFFF"/>
              </a:solidFill>
              <a:latin typeface="Arial Rounded MT Bold"/>
              <a:cs typeface="Arial Rounded MT Bold"/>
            </a:endParaRPr>
          </a:p>
        </p:txBody>
      </p:sp>
      <p:sp>
        <p:nvSpPr>
          <p:cNvPr id="6" name="Text Placeholder 3"/>
          <p:cNvSpPr txBox="1">
            <a:spLocks/>
          </p:cNvSpPr>
          <p:nvPr/>
        </p:nvSpPr>
        <p:spPr>
          <a:xfrm>
            <a:off x="1468404" y="5326153"/>
            <a:ext cx="5178388" cy="16927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Wingdings" pitchFamily="2" charset="2"/>
              <a:buNone/>
              <a:defRPr sz="1400" kern="120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200" kern="120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39725" indent="-158750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200" kern="120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39725" indent="-158750" algn="l" defTabSz="1077913" rtl="0" eaLnBrk="1" latinLnBrk="0" hangingPunct="1">
              <a:spcBef>
                <a:spcPts val="0"/>
              </a:spcBef>
              <a:buFont typeface="Arial" pitchFamily="34" charset="0"/>
              <a:buChar char="-"/>
              <a:defRPr sz="1200" kern="1200" baseline="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339725" indent="-158750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9725" indent="-158750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lang="en-GB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9725" indent="-158750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9725" indent="-158750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lang="en-GB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9725" indent="-158750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 smtClean="0">
                <a:solidFill>
                  <a:srgbClr val="FFFFFF"/>
                </a:solidFill>
                <a:latin typeface="Arial Rounded MT Bold"/>
                <a:cs typeface="Arial Rounded MT Bold"/>
              </a:rPr>
              <a:t>Buenos Aires,  May 2014 </a:t>
            </a:r>
            <a:endParaRPr lang="en-US" sz="1100" dirty="0">
              <a:solidFill>
                <a:srgbClr val="FFFFFF"/>
              </a:solidFill>
              <a:latin typeface="Arial Rounded MT Bold"/>
              <a:cs typeface="Arial Rounded MT Bold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468404" y="4771536"/>
            <a:ext cx="5178388" cy="129448"/>
          </a:xfrm>
          <a:prstGeom prst="rect">
            <a:avLst/>
          </a:prstGeom>
        </p:spPr>
        <p:txBody>
          <a:bodyPr vert="horz" lIns="0" tIns="0" rIns="0" bIns="0" rtlCol="0" anchor="t">
            <a:normAutofit fontScale="92500" lnSpcReduction="200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11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22397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type="body" sz="quarter" idx="13"/>
          </p:nvPr>
        </p:nvSpPr>
        <p:spPr>
          <a:xfrm>
            <a:off x="258763" y="1130400"/>
            <a:ext cx="8626475" cy="1938992"/>
          </a:xfrm>
        </p:spPr>
        <p:txBody>
          <a:bodyPr/>
          <a:lstStyle/>
          <a:p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charset="0"/>
              </a:rPr>
              <a:t>LDAP</a:t>
            </a:r>
            <a:endParaRPr lang="en-US" sz="2000" dirty="0" smtClean="0">
              <a:solidFill>
                <a:schemeClr val="tx1">
                  <a:lumMod val="75000"/>
                  <a:lumOff val="25000"/>
                </a:schemeClr>
              </a:solidFill>
              <a:cs typeface="Arial" charset="0"/>
            </a:endParaRPr>
          </a:p>
          <a:p>
            <a:pPr marL="457200" indent="-457200">
              <a:buFont typeface="+mj-lt"/>
              <a:buAutoNum type="arabicPeriod"/>
            </a:pPr>
            <a:endParaRPr lang="en-US" sz="2000" b="0" dirty="0">
              <a:solidFill>
                <a:schemeClr val="tx1">
                  <a:lumMod val="75000"/>
                  <a:lumOff val="25000"/>
                </a:schemeClr>
              </a:solidFill>
              <a:cs typeface="Arial" charset="0"/>
            </a:endParaRPr>
          </a:p>
          <a:p>
            <a:pPr lvl="1" indent="-342900">
              <a:buFont typeface="Wingdings" pitchFamily="2" charset="2"/>
              <a:buChar char="ü"/>
            </a:pPr>
            <a:r>
              <a:rPr lang="en-US" sz="1800" b="0" dirty="0" err="1" smtClean="0">
                <a:solidFill>
                  <a:schemeClr val="tx1"/>
                </a:solidFill>
                <a:cs typeface="Arial" charset="0"/>
              </a:rPr>
              <a:t>Necesidad</a:t>
            </a:r>
            <a:r>
              <a:rPr lang="en-US" sz="1800" b="0" dirty="0" smtClean="0">
                <a:solidFill>
                  <a:schemeClr val="tx1"/>
                </a:solidFill>
                <a:cs typeface="Arial" charset="0"/>
              </a:rPr>
              <a:t> de </a:t>
            </a:r>
            <a:r>
              <a:rPr lang="en-US" sz="1800" b="0" dirty="0" err="1" smtClean="0">
                <a:solidFill>
                  <a:schemeClr val="tx1"/>
                </a:solidFill>
                <a:cs typeface="Arial" charset="0"/>
              </a:rPr>
              <a:t>implementación</a:t>
            </a:r>
            <a:r>
              <a:rPr lang="en-US" sz="1800" b="0" dirty="0" smtClean="0">
                <a:solidFill>
                  <a:schemeClr val="tx1"/>
                </a:solidFill>
                <a:cs typeface="Arial" charset="0"/>
              </a:rPr>
              <a:t> </a:t>
            </a:r>
            <a:r>
              <a:rPr lang="en-US" sz="1800" b="0" dirty="0" err="1" smtClean="0">
                <a:solidFill>
                  <a:schemeClr val="tx1"/>
                </a:solidFill>
                <a:cs typeface="Arial" charset="0"/>
              </a:rPr>
              <a:t>como</a:t>
            </a:r>
            <a:r>
              <a:rPr lang="en-US" sz="1800" b="0" dirty="0" smtClean="0">
                <a:solidFill>
                  <a:schemeClr val="tx1"/>
                </a:solidFill>
                <a:cs typeface="Arial" charset="0"/>
              </a:rPr>
              <a:t> base de </a:t>
            </a:r>
            <a:r>
              <a:rPr lang="en-US" sz="1800" b="0" dirty="0" err="1" smtClean="0">
                <a:solidFill>
                  <a:schemeClr val="tx1"/>
                </a:solidFill>
                <a:cs typeface="Arial" charset="0"/>
              </a:rPr>
              <a:t>soporte</a:t>
            </a:r>
            <a:r>
              <a:rPr lang="en-US" sz="1800" b="0" dirty="0" smtClean="0">
                <a:solidFill>
                  <a:schemeClr val="tx1"/>
                </a:solidFill>
                <a:cs typeface="Arial" charset="0"/>
              </a:rPr>
              <a:t> de </a:t>
            </a:r>
            <a:r>
              <a:rPr lang="en-US" sz="1800" b="0" dirty="0" err="1" smtClean="0">
                <a:solidFill>
                  <a:schemeClr val="tx1"/>
                </a:solidFill>
                <a:cs typeface="Arial" charset="0"/>
              </a:rPr>
              <a:t>otras</a:t>
            </a:r>
            <a:r>
              <a:rPr lang="en-US" sz="1800" b="0" dirty="0" smtClean="0">
                <a:solidFill>
                  <a:schemeClr val="tx1"/>
                </a:solidFill>
                <a:cs typeface="Arial" charset="0"/>
              </a:rPr>
              <a:t> </a:t>
            </a:r>
            <a:r>
              <a:rPr lang="en-US" sz="1800" b="0" dirty="0" err="1" smtClean="0">
                <a:solidFill>
                  <a:schemeClr val="tx1"/>
                </a:solidFill>
                <a:cs typeface="Arial" charset="0"/>
              </a:rPr>
              <a:t>iniciativas</a:t>
            </a:r>
            <a:endParaRPr lang="en-US" sz="1800" b="0" dirty="0" smtClean="0">
              <a:solidFill>
                <a:schemeClr val="tx1"/>
              </a:solidFill>
              <a:cs typeface="Arial" charset="0"/>
            </a:endParaRPr>
          </a:p>
          <a:p>
            <a:pPr lvl="1" indent="-342900">
              <a:buFont typeface="Wingdings" pitchFamily="2" charset="2"/>
              <a:buChar char="ü"/>
            </a:pPr>
            <a:r>
              <a:rPr lang="en-US" sz="1800" b="0" dirty="0" err="1" smtClean="0">
                <a:solidFill>
                  <a:schemeClr val="tx1"/>
                </a:solidFill>
                <a:latin typeface="Arial" charset="0"/>
                <a:cs typeface="Arial" charset="0"/>
              </a:rPr>
              <a:t>Registración</a:t>
            </a:r>
            <a:r>
              <a:rPr lang="en-US" sz="1800" b="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 </a:t>
            </a:r>
            <a:r>
              <a:rPr lang="en-US" sz="1800" b="0" dirty="0" err="1" smtClean="0">
                <a:solidFill>
                  <a:schemeClr val="tx1"/>
                </a:solidFill>
                <a:latin typeface="Arial" charset="0"/>
                <a:cs typeface="Arial" charset="0"/>
              </a:rPr>
              <a:t>unificada</a:t>
            </a:r>
            <a:r>
              <a:rPr lang="en-US" sz="1800" b="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 de </a:t>
            </a:r>
            <a:r>
              <a:rPr lang="en-US" sz="1800" b="0" dirty="0" err="1" smtClean="0">
                <a:solidFill>
                  <a:schemeClr val="tx1"/>
                </a:solidFill>
                <a:latin typeface="Arial" charset="0"/>
                <a:cs typeface="Arial" charset="0"/>
              </a:rPr>
              <a:t>información</a:t>
            </a:r>
            <a:r>
              <a:rPr lang="en-US" sz="1800" b="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 </a:t>
            </a:r>
            <a:endParaRPr lang="en-US" sz="1800" b="0" dirty="0" smtClean="0">
              <a:solidFill>
                <a:schemeClr val="tx1"/>
              </a:solidFill>
              <a:cs typeface="Arial" charset="0"/>
            </a:endParaRPr>
          </a:p>
          <a:p>
            <a:pPr lvl="1" indent="-342900">
              <a:buFont typeface="Wingdings" pitchFamily="2" charset="2"/>
              <a:buChar char="ü"/>
            </a:pPr>
            <a:r>
              <a:rPr lang="en-US" sz="1800" dirty="0" err="1" smtClean="0">
                <a:solidFill>
                  <a:schemeClr val="tx1"/>
                </a:solidFill>
                <a:cs typeface="Arial" charset="0"/>
              </a:rPr>
              <a:t>Unificación</a:t>
            </a:r>
            <a:r>
              <a:rPr lang="en-US" sz="1800" dirty="0" smtClean="0">
                <a:solidFill>
                  <a:schemeClr val="tx1"/>
                </a:solidFill>
                <a:cs typeface="Arial" charset="0"/>
              </a:rPr>
              <a:t> de </a:t>
            </a:r>
            <a:r>
              <a:rPr lang="en-US" sz="1800" dirty="0" err="1" smtClean="0">
                <a:solidFill>
                  <a:schemeClr val="tx1"/>
                </a:solidFill>
                <a:cs typeface="Arial" charset="0"/>
              </a:rPr>
              <a:t>criterios</a:t>
            </a:r>
            <a:r>
              <a:rPr lang="en-US" sz="1800" dirty="0" smtClean="0">
                <a:solidFill>
                  <a:schemeClr val="tx1"/>
                </a:solidFill>
                <a:cs typeface="Arial" charset="0"/>
              </a:rPr>
              <a:t> RRHH / </a:t>
            </a:r>
            <a:r>
              <a:rPr lang="en-US" sz="1800" dirty="0" err="1" smtClean="0">
                <a:solidFill>
                  <a:schemeClr val="tx1"/>
                </a:solidFill>
                <a:cs typeface="Arial" charset="0"/>
              </a:rPr>
              <a:t>Seguridas</a:t>
            </a:r>
            <a:endParaRPr lang="en-US" sz="1800" dirty="0" smtClean="0">
              <a:solidFill>
                <a:schemeClr val="tx1"/>
              </a:solidFill>
              <a:cs typeface="Arial" charset="0"/>
            </a:endParaRPr>
          </a:p>
          <a:p>
            <a:pPr lvl="1" indent="-342900">
              <a:buFont typeface="Wingdings" pitchFamily="2" charset="2"/>
              <a:buChar char="ü"/>
            </a:pPr>
            <a:endParaRPr lang="en-US" sz="800" dirty="0" smtClean="0">
              <a:solidFill>
                <a:schemeClr val="tx1"/>
              </a:solidFill>
              <a:cs typeface="Arial" charset="0"/>
            </a:endParaRPr>
          </a:p>
          <a:p>
            <a:pPr marL="914400" lvl="1" indent="-514350">
              <a:buFont typeface="+mj-lt"/>
              <a:buAutoNum type="arabicPeriod"/>
            </a:pPr>
            <a:endParaRPr lang="en-US" sz="800" dirty="0" smtClean="0">
              <a:solidFill>
                <a:schemeClr val="tx1">
                  <a:lumMod val="75000"/>
                  <a:lumOff val="25000"/>
                </a:schemeClr>
              </a:solidFill>
              <a:cs typeface="Arial" charset="0"/>
            </a:endParaRPr>
          </a:p>
          <a:p>
            <a:pPr marL="914400" lvl="1" indent="-514350">
              <a:buFont typeface="+mj-lt"/>
              <a:buAutoNum type="arabicPeriod"/>
            </a:pPr>
            <a:endParaRPr lang="en-US" sz="800" dirty="0" smtClean="0">
              <a:solidFill>
                <a:schemeClr val="tx1">
                  <a:lumMod val="75000"/>
                  <a:lumOff val="25000"/>
                </a:schemeClr>
              </a:solidFill>
              <a:cs typeface="Arial" charset="0"/>
            </a:endParaRPr>
          </a:p>
          <a:p>
            <a:pPr marL="914400" lvl="1" indent="-514350">
              <a:buFont typeface="+mj-lt"/>
              <a:buAutoNum type="arabicPeriod"/>
            </a:pPr>
            <a:endParaRPr lang="en-US" sz="800" dirty="0" smtClean="0">
              <a:solidFill>
                <a:schemeClr val="tx1">
                  <a:lumMod val="75000"/>
                  <a:lumOff val="25000"/>
                </a:schemeClr>
              </a:solidFill>
              <a:cs typeface="Arial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 err="1" smtClean="0"/>
              <a:t>Index</a:t>
            </a:r>
            <a:endParaRPr lang="es-ES_tradnl" dirty="0"/>
          </a:p>
        </p:txBody>
      </p:sp>
      <p:sp>
        <p:nvSpPr>
          <p:cNvPr id="13" name="TextBox 12"/>
          <p:cNvSpPr txBox="1"/>
          <p:nvPr/>
        </p:nvSpPr>
        <p:spPr>
          <a:xfrm>
            <a:off x="3092485" y="644160"/>
            <a:ext cx="184666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420872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 smtClean="0"/>
              <a:t>Global </a:t>
            </a:r>
            <a:r>
              <a:rPr lang="es-AR" dirty="0" err="1" smtClean="0"/>
              <a:t>Structure</a:t>
            </a:r>
            <a:endParaRPr lang="es-AR" dirty="0"/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3101483013"/>
              </p:ext>
            </p:extLst>
          </p:nvPr>
        </p:nvGraphicFramePr>
        <p:xfrm>
          <a:off x="610405" y="292793"/>
          <a:ext cx="5045727" cy="61274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Curved Right Arrow 5"/>
          <p:cNvSpPr/>
          <p:nvPr/>
        </p:nvSpPr>
        <p:spPr>
          <a:xfrm flipH="1" flipV="1">
            <a:off x="5206671" y="4240229"/>
            <a:ext cx="389331" cy="748819"/>
          </a:xfrm>
          <a:prstGeom prst="curvedRightArrow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AR" sz="110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</p:txBody>
      </p:sp>
      <p:sp>
        <p:nvSpPr>
          <p:cNvPr id="7" name="Curved Right Arrow 6"/>
          <p:cNvSpPr/>
          <p:nvPr/>
        </p:nvSpPr>
        <p:spPr>
          <a:xfrm flipH="1" flipV="1">
            <a:off x="5216196" y="1726031"/>
            <a:ext cx="389331" cy="3253491"/>
          </a:xfrm>
          <a:prstGeom prst="curvedRightArrow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AR" sz="110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</p:txBody>
      </p:sp>
      <p:sp>
        <p:nvSpPr>
          <p:cNvPr id="8" name="Curved Right Arrow 7"/>
          <p:cNvSpPr/>
          <p:nvPr/>
        </p:nvSpPr>
        <p:spPr>
          <a:xfrm flipH="1" flipV="1">
            <a:off x="5197781" y="946779"/>
            <a:ext cx="778661" cy="4776951"/>
          </a:xfrm>
          <a:prstGeom prst="curvedRightArrow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s-AR" sz="110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</p:txBody>
      </p:sp>
      <p:sp>
        <p:nvSpPr>
          <p:cNvPr id="9" name="Curved Right Arrow 8"/>
          <p:cNvSpPr/>
          <p:nvPr/>
        </p:nvSpPr>
        <p:spPr>
          <a:xfrm flipH="1" flipV="1">
            <a:off x="5197781" y="3542228"/>
            <a:ext cx="778661" cy="2168994"/>
          </a:xfrm>
          <a:prstGeom prst="curvedRightArrow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s-AR" sz="110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</p:txBody>
      </p:sp>
      <p:sp>
        <p:nvSpPr>
          <p:cNvPr id="10" name="Curved Right Arrow 9"/>
          <p:cNvSpPr/>
          <p:nvPr/>
        </p:nvSpPr>
        <p:spPr>
          <a:xfrm flipH="1" flipV="1">
            <a:off x="5216833" y="2112053"/>
            <a:ext cx="1588470" cy="4195971"/>
          </a:xfrm>
          <a:prstGeom prst="curvedRightArrow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s-AR" sz="1100">
                <a:solidFill>
                  <a:srgbClr val="76717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s-AR" sz="110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1" name="Curved Right Arrow 10"/>
          <p:cNvSpPr/>
          <p:nvPr/>
        </p:nvSpPr>
        <p:spPr>
          <a:xfrm flipH="1" flipV="1">
            <a:off x="5216833" y="195135"/>
            <a:ext cx="1588470" cy="6132572"/>
          </a:xfrm>
          <a:prstGeom prst="curvedRightArrow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s-AR" sz="1100">
                <a:solidFill>
                  <a:srgbClr val="76717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s-AR" sz="110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" name="Rectangle 15"/>
          <p:cNvSpPr>
            <a:spLocks noChangeArrowheads="1"/>
          </p:cNvSpPr>
          <p:nvPr/>
        </p:nvSpPr>
        <p:spPr bwMode="auto">
          <a:xfrm>
            <a:off x="616944" y="1039643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5642458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 smtClean="0"/>
              <a:t>Acceso a aplicaciones</a:t>
            </a:r>
            <a:endParaRPr lang="es-AR" dirty="0"/>
          </a:p>
        </p:txBody>
      </p:sp>
      <p:graphicFrame>
        <p:nvGraphicFramePr>
          <p:cNvPr id="14" name="Diagram 13"/>
          <p:cNvGraphicFramePr/>
          <p:nvPr>
            <p:extLst>
              <p:ext uri="{D42A27DB-BD31-4B8C-83A1-F6EECF244321}">
                <p14:modId xmlns:p14="http://schemas.microsoft.com/office/powerpoint/2010/main" val="2114359636"/>
              </p:ext>
            </p:extLst>
          </p:nvPr>
        </p:nvGraphicFramePr>
        <p:xfrm>
          <a:off x="969483" y="213111"/>
          <a:ext cx="5316497" cy="65312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5" name="Curved Right Arrow 14"/>
          <p:cNvSpPr/>
          <p:nvPr/>
        </p:nvSpPr>
        <p:spPr>
          <a:xfrm flipH="1" flipV="1">
            <a:off x="6119235" y="524800"/>
            <a:ext cx="238125" cy="3367233"/>
          </a:xfrm>
          <a:prstGeom prst="curvedRightArrow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AR"/>
              <a:t> </a:t>
            </a:r>
          </a:p>
        </p:txBody>
      </p:sp>
      <p:sp>
        <p:nvSpPr>
          <p:cNvPr id="16" name="Curved Right Arrow 15"/>
          <p:cNvSpPr/>
          <p:nvPr/>
        </p:nvSpPr>
        <p:spPr>
          <a:xfrm flipH="1" flipV="1">
            <a:off x="6128760" y="1587412"/>
            <a:ext cx="238125" cy="2286393"/>
          </a:xfrm>
          <a:prstGeom prst="curvedRightArrow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AR"/>
              <a:t> </a:t>
            </a:r>
          </a:p>
        </p:txBody>
      </p:sp>
      <p:sp>
        <p:nvSpPr>
          <p:cNvPr id="17" name="Curved Right Arrow 16"/>
          <p:cNvSpPr/>
          <p:nvPr/>
        </p:nvSpPr>
        <p:spPr>
          <a:xfrm flipH="1" flipV="1">
            <a:off x="6119872" y="2073210"/>
            <a:ext cx="476250" cy="2923812"/>
          </a:xfrm>
          <a:prstGeom prst="curvedRightArrow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s-AR" sz="110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</p:txBody>
      </p:sp>
      <p:sp>
        <p:nvSpPr>
          <p:cNvPr id="18" name="Curved Right Arrow 17"/>
          <p:cNvSpPr/>
          <p:nvPr/>
        </p:nvSpPr>
        <p:spPr>
          <a:xfrm flipH="1" flipV="1">
            <a:off x="6119872" y="2103326"/>
            <a:ext cx="476250" cy="2327963"/>
          </a:xfrm>
          <a:prstGeom prst="curvedRightArrow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s-AR" sz="110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</p:txBody>
      </p:sp>
      <p:sp>
        <p:nvSpPr>
          <p:cNvPr id="19" name="Curved Right Arrow 18"/>
          <p:cNvSpPr/>
          <p:nvPr/>
        </p:nvSpPr>
        <p:spPr>
          <a:xfrm flipH="1" flipV="1">
            <a:off x="6109710" y="870541"/>
            <a:ext cx="714375" cy="5224061"/>
          </a:xfrm>
          <a:prstGeom prst="curvedRightArrow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s-AR" sz="1100">
                <a:solidFill>
                  <a:srgbClr val="76717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s-AR" sz="110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0" name="Curved Right Arrow 19"/>
          <p:cNvSpPr/>
          <p:nvPr/>
        </p:nvSpPr>
        <p:spPr>
          <a:xfrm flipH="1" flipV="1">
            <a:off x="6110347" y="855150"/>
            <a:ext cx="704850" cy="5686328"/>
          </a:xfrm>
          <a:prstGeom prst="curvedRightArrow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s-AR" sz="1100">
                <a:solidFill>
                  <a:srgbClr val="76717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s-AR" sz="110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15896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 smtClean="0"/>
              <a:t>Definiciones de Estructura</a:t>
            </a:r>
            <a:endParaRPr lang="es-AR" dirty="0"/>
          </a:p>
        </p:txBody>
      </p:sp>
      <p:sp>
        <p:nvSpPr>
          <p:cNvPr id="8" name="Rectangle 2"/>
          <p:cNvSpPr>
            <a:spLocks noChangeArrowheads="1"/>
          </p:cNvSpPr>
          <p:nvPr/>
        </p:nvSpPr>
        <p:spPr bwMode="auto">
          <a:xfrm>
            <a:off x="842909" y="1029645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s-AR"/>
          </a:p>
        </p:txBody>
      </p:sp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3758866132"/>
              </p:ext>
            </p:extLst>
          </p:nvPr>
        </p:nvGraphicFramePr>
        <p:xfrm>
          <a:off x="259015" y="704649"/>
          <a:ext cx="8741766" cy="55479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Rectangle 3"/>
          <p:cNvSpPr>
            <a:spLocks noChangeArrowheads="1"/>
          </p:cNvSpPr>
          <p:nvPr/>
        </p:nvSpPr>
        <p:spPr bwMode="auto">
          <a:xfrm>
            <a:off x="842909" y="7049445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AR" altLang="es-AR" sz="2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AR" altLang="es-A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Rectangle 5"/>
          <p:cNvSpPr>
            <a:spLocks noChangeArrowheads="1"/>
          </p:cNvSpPr>
          <p:nvPr/>
        </p:nvSpPr>
        <p:spPr bwMode="auto">
          <a:xfrm>
            <a:off x="583894" y="247449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33951941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LX template">
  <a:themeElements>
    <a:clrScheme name="OLX standard color scheme">
      <a:dk1>
        <a:srgbClr val="000000"/>
      </a:dk1>
      <a:lt1>
        <a:srgbClr val="FFFFFF"/>
      </a:lt1>
      <a:dk2>
        <a:srgbClr val="D9D9D9"/>
      </a:dk2>
      <a:lt2>
        <a:srgbClr val="4F2D7F"/>
      </a:lt2>
      <a:accent1>
        <a:srgbClr val="BFBFBF"/>
      </a:accent1>
      <a:accent2>
        <a:srgbClr val="D8E197"/>
      </a:accent2>
      <a:accent3>
        <a:srgbClr val="BECD4F"/>
      </a:accent3>
      <a:accent4>
        <a:srgbClr val="A8B400"/>
      </a:accent4>
      <a:accent5>
        <a:srgbClr val="F6B652"/>
      </a:accent5>
      <a:accent6>
        <a:srgbClr val="FF7900"/>
      </a:accent6>
      <a:hlink>
        <a:srgbClr val="EE8C3B"/>
      </a:hlink>
      <a:folHlink>
        <a:srgbClr val="BFBFBF"/>
      </a:folHlink>
    </a:clrScheme>
    <a:fontScheme name="OLX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28575">
          <a:noFill/>
        </a:ln>
      </a:spPr>
      <a:bodyPr rot="0" spcFirstLastPara="0" vertOverflow="overflow" horzOverflow="overflow" vert="horz" wrap="square" lIns="90000" tIns="90000" rIns="90000" bIns="9000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none" lIns="0" tIns="0" rIns="0" bIns="0" rtlCol="0">
        <a:spAutoFit/>
      </a:bodyPr>
      <a:lstStyle>
        <a:defPPr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35</Words>
  <Application>Microsoft Office PowerPoint</Application>
  <PresentationFormat>On-screen Show (4:3)</PresentationFormat>
  <Paragraphs>76</Paragraphs>
  <Slides>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5" baseType="lpstr">
      <vt:lpstr>MS PGothic</vt:lpstr>
      <vt:lpstr>Arial</vt:lpstr>
      <vt:lpstr>Arial Rounded MT Bold</vt:lpstr>
      <vt:lpstr>Calibri</vt:lpstr>
      <vt:lpstr>Helvetica</vt:lpstr>
      <vt:lpstr>Helvetica Light</vt:lpstr>
      <vt:lpstr>Times New Roman</vt:lpstr>
      <vt:lpstr>Wingdings</vt:lpstr>
      <vt:lpstr>OLX template</vt:lpstr>
      <vt:lpstr>think-cell Slide</vt:lpstr>
      <vt:lpstr>PowerPoint Presentation</vt:lpstr>
      <vt:lpstr>Index</vt:lpstr>
      <vt:lpstr>Global Structure</vt:lpstr>
      <vt:lpstr>Acceso a aplicaciones</vt:lpstr>
      <vt:lpstr>Definiciones de Estructura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3-07-06T11:10:01Z</dcterms:created>
  <dcterms:modified xsi:type="dcterms:W3CDTF">2014-04-25T20:47:12Z</dcterms:modified>
</cp:coreProperties>
</file>